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5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7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8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9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10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7" r:id="rId4"/>
    <p:sldMasterId id="2147483661" r:id="rId5"/>
    <p:sldMasterId id="2147483701" r:id="rId6"/>
    <p:sldMasterId id="2147483714" r:id="rId7"/>
    <p:sldMasterId id="2147483738" r:id="rId8"/>
    <p:sldMasterId id="2147483750" r:id="rId9"/>
    <p:sldMasterId id="2147483754" r:id="rId10"/>
    <p:sldMasterId id="2147483780" r:id="rId11"/>
    <p:sldMasterId id="2147483969" r:id="rId12"/>
    <p:sldMasterId id="2147483981" r:id="rId13"/>
    <p:sldMasterId id="2147484090" r:id="rId14"/>
  </p:sldMasterIdLst>
  <p:notesMasterIdLst>
    <p:notesMasterId r:id="rId16"/>
  </p:notesMasterIdLst>
  <p:sldIdLst>
    <p:sldId id="2134805862" r:id="rId15"/>
  </p:sldIdLst>
  <p:sldSz cx="9144000" cy="5143500" type="screen16x9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DDEC483-6E0B-4F17-9F05-242FAE0D6F33}">
          <p14:sldIdLst>
            <p14:sldId id="2134805862"/>
          </p14:sldIdLst>
        </p14:section>
        <p14:section name="Untitled Section" id="{5FC3F01F-1D3B-4437-BC02-877B8883F14D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3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sma Mubarak" initials="AM" lastIdx="2" clrIdx="0"/>
  <p:cmAuthor id="2" name="aip" initials="a" lastIdx="1" clrIdx="1">
    <p:extLst>
      <p:ext uri="{19B8F6BF-5375-455C-9EA6-DF929625EA0E}">
        <p15:presenceInfo xmlns:p15="http://schemas.microsoft.com/office/powerpoint/2012/main" userId="db9abd721fa8fbb9" providerId="Windows Live"/>
      </p:ext>
    </p:extLst>
  </p:cmAuthor>
  <p:cmAuthor id="3" name="112414" initials="1" lastIdx="1" clrIdx="2">
    <p:extLst>
      <p:ext uri="{19B8F6BF-5375-455C-9EA6-DF929625EA0E}">
        <p15:presenceInfo xmlns:p15="http://schemas.microsoft.com/office/powerpoint/2012/main" userId="112414" providerId="None"/>
      </p:ext>
    </p:extLst>
  </p:cmAuthor>
  <p:cmAuthor id="4" name="Buthaina Nasser" initials="BN" lastIdx="1" clrIdx="3">
    <p:extLst>
      <p:ext uri="{19B8F6BF-5375-455C-9EA6-DF929625EA0E}">
        <p15:presenceInfo xmlns:p15="http://schemas.microsoft.com/office/powerpoint/2012/main" userId="S-1-5-21-343102388-2385893168-1891901555-512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9D4F1"/>
    <a:srgbClr val="F38120"/>
    <a:srgbClr val="F28120"/>
    <a:srgbClr val="203E9A"/>
    <a:srgbClr val="273A8A"/>
    <a:srgbClr val="58597C"/>
    <a:srgbClr val="9BA4AF"/>
    <a:srgbClr val="9DA7B1"/>
    <a:srgbClr val="334171"/>
    <a:srgbClr val="213AB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203" autoAdjust="0"/>
    <p:restoredTop sz="98221" autoAdjust="0"/>
  </p:normalViewPr>
  <p:slideViewPr>
    <p:cSldViewPr>
      <p:cViewPr varScale="1">
        <p:scale>
          <a:sx n="145" d="100"/>
          <a:sy n="145" d="100"/>
        </p:scale>
        <p:origin x="1050" y="114"/>
      </p:cViewPr>
      <p:guideLst>
        <p:guide orient="horz" pos="1620"/>
        <p:guide pos="283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4138"/>
    </p:cViewPr>
  </p:sorterViewPr>
  <p:notesViewPr>
    <p:cSldViewPr>
      <p:cViewPr varScale="1">
        <p:scale>
          <a:sx n="88" d="100"/>
          <a:sy n="88" d="100"/>
        </p:scale>
        <p:origin x="-3858" y="-12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.xml"/><Relationship Id="rId10" Type="http://schemas.openxmlformats.org/officeDocument/2006/relationships/slideMaster" Target="slideMasters/slideMaster7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onduru, Raju IDI63X" userId="d8c4c54e-792b-4728-ba18-36787d9218e6" providerId="ADAL" clId="{62A2295E-0473-42FA-BF23-62EE54EC3F33}"/>
    <pc:docChg chg="modSld">
      <pc:chgData name="Konduru, Raju IDI63X" userId="d8c4c54e-792b-4728-ba18-36787d9218e6" providerId="ADAL" clId="{62A2295E-0473-42FA-BF23-62EE54EC3F33}" dt="2024-03-27T05:04:17.229" v="1" actId="6549"/>
      <pc:docMkLst>
        <pc:docMk/>
      </pc:docMkLst>
      <pc:sldChg chg="modSp mod">
        <pc:chgData name="Konduru, Raju IDI63X" userId="d8c4c54e-792b-4728-ba18-36787d9218e6" providerId="ADAL" clId="{62A2295E-0473-42FA-BF23-62EE54EC3F33}" dt="2024-03-27T05:04:17.229" v="1" actId="6549"/>
        <pc:sldMkLst>
          <pc:docMk/>
          <pc:sldMk cId="3948469710" sldId="2134805862"/>
        </pc:sldMkLst>
        <pc:graphicFrameChg chg="modGraphic">
          <ac:chgData name="Konduru, Raju IDI63X" userId="d8c4c54e-792b-4728-ba18-36787d9218e6" providerId="ADAL" clId="{62A2295E-0473-42FA-BF23-62EE54EC3F33}" dt="2024-03-27T05:04:17.229" v="1" actId="6549"/>
          <ac:graphicFrameMkLst>
            <pc:docMk/>
            <pc:sldMk cId="3948469710" sldId="2134805862"/>
            <ac:graphicFrameMk id="13" creationId="{00000000-0000-0000-0000-000000000000}"/>
          </ac:graphicFrameMkLst>
        </pc:graphicFrame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1AB70B-25CD-4EE3-A8CC-ABAF45BC5C48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FA5680-072A-4476-B4B8-9DF3985D08E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95625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M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 Musleh image on the top right will change according to incident pattern, MSE3 will provide you with the image as per the pattern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What happened: A short description should be provided without mentioning names of contractors or individuals.  You should include, what happened, to who (by job title) and what injuries this resulted in.  Nothing more!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Initial Finding: Four to five bullet points highlighting the initial main findings from the investigation.  Remember the target audience is the front-line staff so this should be written in simple terms in a way that everyone can understand.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Learnings: Four to five learning message in the form of questionnaires linked with initial finding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The strap line should be the main learning point you want to get acros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The images should be self explanatory, what went wrong (if you create a reconstruction please ensure you do not put people at risk) and below how it should be done. 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EE756A-71C4-4EF9-8F7C-B1FF48E6612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27420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image" Target="../media/image6.emf"/><Relationship Id="rId7" Type="http://schemas.microsoft.com/office/2007/relationships/hdphoto" Target="../media/hdphoto2.wdp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9.xml"/><Relationship Id="rId6" Type="http://schemas.openxmlformats.org/officeDocument/2006/relationships/image" Target="../media/image8.jpeg"/><Relationship Id="rId5" Type="http://schemas.microsoft.com/office/2007/relationships/hdphoto" Target="../media/hdphoto1.wdp"/><Relationship Id="rId10" Type="http://schemas.openxmlformats.org/officeDocument/2006/relationships/image" Target="../media/image10.png"/><Relationship Id="rId4" Type="http://schemas.openxmlformats.org/officeDocument/2006/relationships/image" Target="../media/image7.jpeg"/><Relationship Id="rId9" Type="http://schemas.microsoft.com/office/2007/relationships/hdphoto" Target="../media/hdphoto3.wdp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2A80F7-2305-4A13-B89D-F8702A4DD75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54073CE-334E-46AF-864A-BBFEF93730F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EE57804-72EB-439F-933F-96EEDD5953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620EFB-FDD2-4A23-9797-ED5A582786FE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2DDDCC-CED1-487D-A6A5-3A45F44E25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FB9E7A-36D0-4DC0-AB81-1D34F94B00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4B6481-26EB-4B86-9DFA-C4684456B29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64491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7D784E-E7B8-49EF-BB0E-4D8FE6D2CF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53C707C-2060-41BF-8E3F-F8727538F4D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B9E70B-F701-4742-92FB-BFA41D7DC8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620EFB-FDD2-4A23-9797-ED5A582786FE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C2C3AF-457A-4617-83A3-F1488E046E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D84C32-4266-4049-B848-6A70991EA3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4B6481-26EB-4B86-9DFA-C4684456B29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83654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609FC10-21C3-4BF7-8786-1DCA12FB286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9913" y="1276351"/>
            <a:ext cx="2124031" cy="2087562"/>
          </a:xfrm>
          <a:custGeom>
            <a:avLst/>
            <a:gdLst>
              <a:gd name="connsiteX0" fmla="*/ 1062016 w 2124031"/>
              <a:gd name="connsiteY0" fmla="*/ 0 h 2087562"/>
              <a:gd name="connsiteX1" fmla="*/ 2124031 w 2124031"/>
              <a:gd name="connsiteY1" fmla="*/ 1043781 h 2087562"/>
              <a:gd name="connsiteX2" fmla="*/ 1062016 w 2124031"/>
              <a:gd name="connsiteY2" fmla="*/ 2087562 h 2087562"/>
              <a:gd name="connsiteX3" fmla="*/ 0 w 2124031"/>
              <a:gd name="connsiteY3" fmla="*/ 1043781 h 2087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24031" h="2087562">
                <a:moveTo>
                  <a:pt x="1062016" y="0"/>
                </a:moveTo>
                <a:lnTo>
                  <a:pt x="2124031" y="1043781"/>
                </a:lnTo>
                <a:lnTo>
                  <a:pt x="1062016" y="2087562"/>
                </a:lnTo>
                <a:lnTo>
                  <a:pt x="0" y="104378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94810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422849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473595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897936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6375"/>
            <a:ext cx="2057400" cy="438785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6375"/>
            <a:ext cx="6019800" cy="43878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263886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C44B36A-FF6C-4791-92E5-CBFF56E8536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755370E-6D37-4829-B500-A9E53A45BF00}" type="slidenum">
              <a:rPr lang="en-US" alt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21827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F6AEF2-20D4-7547-BF78-1F3F36FB60DC}" type="datetimeFigureOut">
              <a:rPr lang="en-US" smtClean="0"/>
              <a:t>27/0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F64E4-CF39-E842-A871-400C57C21E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377575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F6AEF2-20D4-7547-BF78-1F3F36FB60DC}" type="datetimeFigureOut">
              <a:rPr lang="en-US" smtClean="0"/>
              <a:t>27/0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F64E4-CF39-E842-A871-400C57C21E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094340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7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101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F6AEF2-20D4-7547-BF78-1F3F36FB60DC}" type="datetimeFigureOut">
              <a:rPr lang="en-US" smtClean="0"/>
              <a:t>27/0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F64E4-CF39-E842-A871-400C57C21E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045034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F6AEF2-20D4-7547-BF78-1F3F36FB60DC}" type="datetimeFigureOut">
              <a:rPr lang="en-US" smtClean="0"/>
              <a:t>27/03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F64E4-CF39-E842-A871-400C57C21E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63744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259FE23-427C-4500-9315-D6B20C0778D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435768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BE69ACA-065F-4059-BC18-A148121CFDA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762625" cy="435768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E6EB91-3FE4-42F1-9FF4-6F11E4940E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620EFB-FDD2-4A23-9797-ED5A582786FE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F417FD-2EEA-4714-ABC7-559C199E00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E2C166-D1DC-431A-8414-FF5CA981E5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4B6481-26EB-4B86-9DFA-C4684456B29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923821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7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2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2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F6AEF2-20D4-7547-BF78-1F3F36FB60DC}" type="datetimeFigureOut">
              <a:rPr lang="en-US" smtClean="0"/>
              <a:t>27/03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F64E4-CF39-E842-A871-400C57C21E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047637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F6AEF2-20D4-7547-BF78-1F3F36FB60DC}" type="datetimeFigureOut">
              <a:rPr lang="en-US" smtClean="0"/>
              <a:t>27/03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F64E4-CF39-E842-A871-400C57C21E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766056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F6AEF2-20D4-7547-BF78-1F3F36FB60DC}" type="datetimeFigureOut">
              <a:rPr lang="en-US" smtClean="0"/>
              <a:t>27/03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F64E4-CF39-E842-A871-400C57C21E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410679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72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892" indent="0">
              <a:buNone/>
              <a:defRPr sz="1050"/>
            </a:lvl2pPr>
            <a:lvl3pPr marL="685783" indent="0">
              <a:buNone/>
              <a:defRPr sz="900"/>
            </a:lvl3pPr>
            <a:lvl4pPr marL="1028675" indent="0">
              <a:buNone/>
              <a:defRPr sz="750"/>
            </a:lvl4pPr>
            <a:lvl5pPr marL="1371566" indent="0">
              <a:buNone/>
              <a:defRPr sz="750"/>
            </a:lvl5pPr>
            <a:lvl6pPr marL="1714457" indent="0">
              <a:buNone/>
              <a:defRPr sz="750"/>
            </a:lvl6pPr>
            <a:lvl7pPr marL="2057348" indent="0">
              <a:buNone/>
              <a:defRPr sz="750"/>
            </a:lvl7pPr>
            <a:lvl8pPr marL="2400240" indent="0">
              <a:buNone/>
              <a:defRPr sz="750"/>
            </a:lvl8pPr>
            <a:lvl9pPr marL="2743132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F6AEF2-20D4-7547-BF78-1F3F36FB60DC}" type="datetimeFigureOut">
              <a:rPr lang="en-US" smtClean="0"/>
              <a:t>27/03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F64E4-CF39-E842-A871-400C57C21E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236023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740572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892" indent="0">
              <a:buNone/>
              <a:defRPr sz="1050"/>
            </a:lvl2pPr>
            <a:lvl3pPr marL="685783" indent="0">
              <a:buNone/>
              <a:defRPr sz="900"/>
            </a:lvl3pPr>
            <a:lvl4pPr marL="1028675" indent="0">
              <a:buNone/>
              <a:defRPr sz="750"/>
            </a:lvl4pPr>
            <a:lvl5pPr marL="1371566" indent="0">
              <a:buNone/>
              <a:defRPr sz="750"/>
            </a:lvl5pPr>
            <a:lvl6pPr marL="1714457" indent="0">
              <a:buNone/>
              <a:defRPr sz="750"/>
            </a:lvl6pPr>
            <a:lvl7pPr marL="2057348" indent="0">
              <a:buNone/>
              <a:defRPr sz="750"/>
            </a:lvl7pPr>
            <a:lvl8pPr marL="2400240" indent="0">
              <a:buNone/>
              <a:defRPr sz="750"/>
            </a:lvl8pPr>
            <a:lvl9pPr marL="2743132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F6AEF2-20D4-7547-BF78-1F3F36FB60DC}" type="datetimeFigureOut">
              <a:rPr lang="en-US" smtClean="0"/>
              <a:t>27/03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F64E4-CF39-E842-A871-400C57C21E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208782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F6AEF2-20D4-7547-BF78-1F3F36FB60DC}" type="datetimeFigureOut">
              <a:rPr lang="en-US" smtClean="0"/>
              <a:t>27/0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F64E4-CF39-E842-A871-400C57C21E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117630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273844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2" y="273844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F6AEF2-20D4-7547-BF78-1F3F36FB60DC}" type="datetimeFigureOut">
              <a:rPr lang="en-US" smtClean="0"/>
              <a:t>27/0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F64E4-CF39-E842-A871-400C57C21E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35871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59595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51330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884466"/>
          </a:xfrm>
          <a:prstGeom prst="rect">
            <a:avLst/>
          </a:prstGeom>
        </p:spPr>
        <p:txBody>
          <a:bodyPr anchor="ctr"/>
          <a:lstStyle>
            <a:lvl1pPr algn="l"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altLang="ko-KR" dirty="0"/>
              <a:t> Free PPT _ Click to add title</a:t>
            </a:r>
            <a:endParaRPr lang="ko-KR" alt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95536" y="1131590"/>
            <a:ext cx="8496944" cy="46064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0"/>
          </p:nvPr>
        </p:nvSpPr>
        <p:spPr>
          <a:xfrm>
            <a:off x="405880" y="1808261"/>
            <a:ext cx="8496944" cy="2995737"/>
          </a:xfrm>
          <a:prstGeom prst="rect">
            <a:avLst/>
          </a:prstGeom>
        </p:spPr>
        <p:txBody>
          <a:bodyPr lIns="396000" anchor="t"/>
          <a:lstStyle>
            <a:lvl1pPr marL="0" indent="0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3714888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58029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879402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05109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609FC10-21C3-4BF7-8786-1DCA12FB286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9913" y="1276351"/>
            <a:ext cx="2124031" cy="2087562"/>
          </a:xfrm>
          <a:custGeom>
            <a:avLst/>
            <a:gdLst>
              <a:gd name="connsiteX0" fmla="*/ 1062016 w 2124031"/>
              <a:gd name="connsiteY0" fmla="*/ 0 h 2087562"/>
              <a:gd name="connsiteX1" fmla="*/ 2124031 w 2124031"/>
              <a:gd name="connsiteY1" fmla="*/ 1043781 h 2087562"/>
              <a:gd name="connsiteX2" fmla="*/ 1062016 w 2124031"/>
              <a:gd name="connsiteY2" fmla="*/ 2087562 h 2087562"/>
              <a:gd name="connsiteX3" fmla="*/ 0 w 2124031"/>
              <a:gd name="connsiteY3" fmla="*/ 1043781 h 2087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24031" h="2087562">
                <a:moveTo>
                  <a:pt x="1062016" y="0"/>
                </a:moveTo>
                <a:lnTo>
                  <a:pt x="2124031" y="1043781"/>
                </a:lnTo>
                <a:lnTo>
                  <a:pt x="1062016" y="2087562"/>
                </a:lnTo>
                <a:lnTo>
                  <a:pt x="0" y="104378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035354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18249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F6754A-F6C0-48B1-98C0-67E3777208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B82F43-4B96-4836-97BE-A6317083714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FC8E82-918D-4714-87D8-D149AEFC7E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620EFB-FDD2-4A23-9797-ED5A582786FE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4AB49F-9580-4E22-8B0C-1FF481A248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041715-2B8B-4769-97FC-B5F7B29F33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4B6481-26EB-4B86-9DFA-C4684456B29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014301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244091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087169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6375"/>
            <a:ext cx="2057400" cy="438785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6375"/>
            <a:ext cx="6019800" cy="43878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00912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614"/>
            <a:ext cx="7772400" cy="11017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78339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723715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884466"/>
          </a:xfrm>
          <a:prstGeom prst="rect">
            <a:avLst/>
          </a:prstGeom>
        </p:spPr>
        <p:txBody>
          <a:bodyPr anchor="ctr"/>
          <a:lstStyle>
            <a:lvl1pPr algn="l"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altLang="ko-KR" dirty="0"/>
              <a:t> Free PPT _ Click to add title</a:t>
            </a:r>
            <a:endParaRPr lang="ko-KR" alt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95536" y="1131591"/>
            <a:ext cx="8496944" cy="46064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0"/>
          </p:nvPr>
        </p:nvSpPr>
        <p:spPr>
          <a:xfrm>
            <a:off x="405880" y="1808261"/>
            <a:ext cx="8496944" cy="2995737"/>
          </a:xfrm>
          <a:prstGeom prst="rect">
            <a:avLst/>
          </a:prstGeom>
        </p:spPr>
        <p:txBody>
          <a:bodyPr lIns="396000" anchor="t"/>
          <a:lstStyle>
            <a:lvl1pPr marL="0" indent="0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6757173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0138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951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951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363039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798994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609FC10-21C3-4BF7-8786-1DCA12FB286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9914" y="1276351"/>
            <a:ext cx="2124031" cy="2087562"/>
          </a:xfrm>
          <a:custGeom>
            <a:avLst/>
            <a:gdLst>
              <a:gd name="connsiteX0" fmla="*/ 1062016 w 2124031"/>
              <a:gd name="connsiteY0" fmla="*/ 0 h 2087562"/>
              <a:gd name="connsiteX1" fmla="*/ 2124031 w 2124031"/>
              <a:gd name="connsiteY1" fmla="*/ 1043781 h 2087562"/>
              <a:gd name="connsiteX2" fmla="*/ 1062016 w 2124031"/>
              <a:gd name="connsiteY2" fmla="*/ 2087562 h 2087562"/>
              <a:gd name="connsiteX3" fmla="*/ 0 w 2124031"/>
              <a:gd name="connsiteY3" fmla="*/ 1043781 h 2087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24031" h="2087562">
                <a:moveTo>
                  <a:pt x="1062016" y="0"/>
                </a:moveTo>
                <a:lnTo>
                  <a:pt x="2124031" y="1043781"/>
                </a:lnTo>
                <a:lnTo>
                  <a:pt x="1062016" y="2087562"/>
                </a:lnTo>
                <a:lnTo>
                  <a:pt x="0" y="104378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5916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C2AE32-10DB-475D-BC75-D045F13E49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700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AB645A-3A5B-42AE-A74D-58446E93C1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1700"/>
            <a:ext cx="7886700" cy="112553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EE32025-FC95-4D6E-92E8-9B55CB6E36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620EFB-FDD2-4A23-9797-ED5A582786FE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A356345-8893-421B-80A8-68E4CE22FD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4BCA17-1398-4C2B-B58E-F9DA84777B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4B6481-26EB-4B86-9DFA-C4684456B29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811146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9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880482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901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596097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438740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6376"/>
            <a:ext cx="2057400" cy="438785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6376"/>
            <a:ext cx="6019800" cy="43878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129620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084BA7BB-BAAE-4BEC-B7ED-B72508F07747}"/>
              </a:ext>
            </a:extLst>
          </p:cNvPr>
          <p:cNvSpPr/>
          <p:nvPr userDrawn="1"/>
        </p:nvSpPr>
        <p:spPr>
          <a:xfrm>
            <a:off x="0" y="1655774"/>
            <a:ext cx="5796136" cy="2088232"/>
          </a:xfrm>
          <a:prstGeom prst="rect">
            <a:avLst/>
          </a:prstGeom>
          <a:solidFill>
            <a:srgbClr val="F2812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B5A9ACC-3474-4C09-A103-FDF2825EAF2A}"/>
              </a:ext>
            </a:extLst>
          </p:cNvPr>
          <p:cNvSpPr/>
          <p:nvPr userDrawn="1"/>
        </p:nvSpPr>
        <p:spPr>
          <a:xfrm>
            <a:off x="1" y="3744005"/>
            <a:ext cx="5508104" cy="51881"/>
          </a:xfrm>
          <a:prstGeom prst="rect">
            <a:avLst/>
          </a:prstGeom>
          <a:solidFill>
            <a:srgbClr val="273A8A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2FFAEE8-7449-4CB0-B9E9-472F01E716A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71551" y="2139951"/>
            <a:ext cx="3529013" cy="936625"/>
          </a:xfrm>
        </p:spPr>
        <p:txBody>
          <a:bodyPr>
            <a:normAutofit/>
          </a:bodyPr>
          <a:lstStyle>
            <a:lvl1pPr marL="0" indent="0">
              <a:buNone/>
              <a:defRPr sz="4000"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396785783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258245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404134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884466"/>
          </a:xfrm>
          <a:prstGeom prst="rect">
            <a:avLst/>
          </a:prstGeom>
        </p:spPr>
        <p:txBody>
          <a:bodyPr anchor="ctr"/>
          <a:lstStyle>
            <a:lvl1pPr algn="l"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altLang="ko-KR" dirty="0"/>
              <a:t> Free PPT _ Click to add title</a:t>
            </a:r>
            <a:endParaRPr lang="ko-KR" alt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95536" y="1131590"/>
            <a:ext cx="8496944" cy="46064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0"/>
          </p:nvPr>
        </p:nvSpPr>
        <p:spPr>
          <a:xfrm>
            <a:off x="405880" y="1808261"/>
            <a:ext cx="8496944" cy="2995737"/>
          </a:xfrm>
          <a:prstGeom prst="rect">
            <a:avLst/>
          </a:prstGeom>
        </p:spPr>
        <p:txBody>
          <a:bodyPr lIns="396000" anchor="t"/>
          <a:lstStyle>
            <a:lvl1pPr marL="0" indent="0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3911417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061151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23184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71324A-EF28-4204-B424-124BD5D1B6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8710A6-79BE-4220-80F7-98E9C378B6B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2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3EDF58B-DB3A-414C-9A8F-09E068BBC87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2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4DE3D61-646A-47EA-9C06-1C3CE87ED3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620EFB-FDD2-4A23-9797-ED5A582786FE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1B239C1-F187-4382-806F-A028F0FE61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C895B90-4211-4B8D-96AD-B1348CA518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4B6481-26EB-4B86-9DFA-C4684456B29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419667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512189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609FC10-21C3-4BF7-8786-1DCA12FB286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9913" y="1276351"/>
            <a:ext cx="2124031" cy="2087562"/>
          </a:xfrm>
          <a:custGeom>
            <a:avLst/>
            <a:gdLst>
              <a:gd name="connsiteX0" fmla="*/ 1062016 w 2124031"/>
              <a:gd name="connsiteY0" fmla="*/ 0 h 2087562"/>
              <a:gd name="connsiteX1" fmla="*/ 2124031 w 2124031"/>
              <a:gd name="connsiteY1" fmla="*/ 1043781 h 2087562"/>
              <a:gd name="connsiteX2" fmla="*/ 1062016 w 2124031"/>
              <a:gd name="connsiteY2" fmla="*/ 2087562 h 2087562"/>
              <a:gd name="connsiteX3" fmla="*/ 0 w 2124031"/>
              <a:gd name="connsiteY3" fmla="*/ 1043781 h 2087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24031" h="2087562">
                <a:moveTo>
                  <a:pt x="1062016" y="0"/>
                </a:moveTo>
                <a:lnTo>
                  <a:pt x="2124031" y="1043781"/>
                </a:lnTo>
                <a:lnTo>
                  <a:pt x="1062016" y="2087562"/>
                </a:lnTo>
                <a:lnTo>
                  <a:pt x="0" y="104378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151057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356884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353721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332244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6375"/>
            <a:ext cx="2057400" cy="438785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6375"/>
            <a:ext cx="6019800" cy="43878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338016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614"/>
            <a:ext cx="7772400" cy="11017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17845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571526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884466"/>
          </a:xfrm>
          <a:prstGeom prst="rect">
            <a:avLst/>
          </a:prstGeom>
        </p:spPr>
        <p:txBody>
          <a:bodyPr anchor="ctr"/>
          <a:lstStyle>
            <a:lvl1pPr algn="l"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altLang="ko-KR" dirty="0"/>
              <a:t> Free PPT _ Click to add title</a:t>
            </a:r>
            <a:endParaRPr lang="ko-KR" alt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95536" y="1131591"/>
            <a:ext cx="8496944" cy="46064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0"/>
          </p:nvPr>
        </p:nvSpPr>
        <p:spPr>
          <a:xfrm>
            <a:off x="405880" y="1808261"/>
            <a:ext cx="8496944" cy="2995737"/>
          </a:xfrm>
          <a:prstGeom prst="rect">
            <a:avLst/>
          </a:prstGeom>
        </p:spPr>
        <p:txBody>
          <a:bodyPr lIns="395990" anchor="t"/>
          <a:lstStyle>
            <a:lvl1pPr marL="0" indent="0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8271290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50369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2AD95A-0903-45AB-A272-79C4C4296E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FAABF6-A019-4995-B051-3EF9EBA715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EFEBCF7-6C97-48AE-9485-B25F935444F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22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12653A4-72C4-4E5C-86FE-9A5A7151060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FDF119D-D399-4BC0-ABA6-F62471086DE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E8C5FAC-ED0C-4CCA-BD73-68C652CBE7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620EFB-FDD2-4A23-9797-ED5A582786FE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FDAE563-FDAF-4B4B-AFEE-FAF65582CD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F7BB596-75C8-4ACC-9EB7-7511B9D6F9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4B6481-26EB-4B86-9DFA-C4684456B29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523179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951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951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548121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350920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609FC10-21C3-4BF7-8786-1DCA12FB286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9914" y="1276351"/>
            <a:ext cx="2124031" cy="2087562"/>
          </a:xfrm>
          <a:custGeom>
            <a:avLst/>
            <a:gdLst>
              <a:gd name="connsiteX0" fmla="*/ 1062016 w 2124031"/>
              <a:gd name="connsiteY0" fmla="*/ 0 h 2087562"/>
              <a:gd name="connsiteX1" fmla="*/ 2124031 w 2124031"/>
              <a:gd name="connsiteY1" fmla="*/ 1043781 h 2087562"/>
              <a:gd name="connsiteX2" fmla="*/ 1062016 w 2124031"/>
              <a:gd name="connsiteY2" fmla="*/ 2087562 h 2087562"/>
              <a:gd name="connsiteX3" fmla="*/ 0 w 2124031"/>
              <a:gd name="connsiteY3" fmla="*/ 1043781 h 2087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24031" h="2087562">
                <a:moveTo>
                  <a:pt x="1062016" y="0"/>
                </a:moveTo>
                <a:lnTo>
                  <a:pt x="2124031" y="1043781"/>
                </a:lnTo>
                <a:lnTo>
                  <a:pt x="1062016" y="2087562"/>
                </a:lnTo>
                <a:lnTo>
                  <a:pt x="0" y="104378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1784520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9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336047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901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682360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573418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6376"/>
            <a:ext cx="2057400" cy="438785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6376"/>
            <a:ext cx="6019800" cy="43878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977825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 hidden="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3" y="1218"/>
            <a:ext cx="1619" cy="1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385EE98-9E3A-40AB-A8AB-B942B090E13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" y="0"/>
            <a:ext cx="158750" cy="1190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6AA37F2-2A08-478C-B20E-8B90F814997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grayscl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09716" y="1643728"/>
            <a:ext cx="3434283" cy="192106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BF8E100-A6E8-4DBB-BE4B-113BCDCCD761}"/>
              </a:ext>
            </a:extLst>
          </p:cNvPr>
          <p:cNvPicPr preferRelativeResize="0">
            <a:picLocks/>
          </p:cNvPicPr>
          <p:nvPr/>
        </p:nvPicPr>
        <p:blipFill>
          <a:blip r:embed="rId6" cstate="screen">
            <a:grayscl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20034" y="137"/>
            <a:ext cx="3323964" cy="174126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AB7C0A0-79AE-4868-8D88-F5684239E24D}"/>
              </a:ext>
            </a:extLst>
          </p:cNvPr>
          <p:cNvPicPr preferRelativeResize="0">
            <a:picLocks/>
          </p:cNvPicPr>
          <p:nvPr/>
        </p:nvPicPr>
        <p:blipFill>
          <a:blip r:embed="rId8" cstate="screen">
            <a:grayscl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20034" y="3564792"/>
            <a:ext cx="3323964" cy="1585979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3E9346E9-E59D-4529-8DCD-3AE024035F44}"/>
              </a:ext>
            </a:extLst>
          </p:cNvPr>
          <p:cNvGrpSpPr/>
          <p:nvPr/>
        </p:nvGrpSpPr>
        <p:grpSpPr bwMode="ltGray">
          <a:xfrm>
            <a:off x="2" y="0"/>
            <a:ext cx="5915025" cy="5143500"/>
            <a:chOff x="2" y="0"/>
            <a:chExt cx="5915025" cy="68580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A31507B-0C85-4085-B778-D2A4A950686B}"/>
                </a:ext>
              </a:extLst>
            </p:cNvPr>
            <p:cNvSpPr/>
            <p:nvPr userDrawn="1"/>
          </p:nvSpPr>
          <p:spPr bwMode="ltGray">
            <a:xfrm>
              <a:off x="2" y="0"/>
              <a:ext cx="5820032" cy="6858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72890D3B-92E4-4747-8A45-67AE0F569C13}"/>
                </a:ext>
              </a:extLst>
            </p:cNvPr>
            <p:cNvSpPr/>
            <p:nvPr userDrawn="1"/>
          </p:nvSpPr>
          <p:spPr bwMode="ltGray">
            <a:xfrm>
              <a:off x="5511115" y="1727887"/>
              <a:ext cx="403912" cy="357110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</p:grp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211485" y="1546677"/>
            <a:ext cx="5033815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4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211485" y="2661434"/>
            <a:ext cx="5033815" cy="16486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050" cap="all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211485" y="3019126"/>
            <a:ext cx="5033815" cy="161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050" baseline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E43ED72-37CC-47CE-8269-971D9CF01F87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2649395" y="4169294"/>
            <a:ext cx="3017982" cy="367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070556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 hidden="1">
            <a:extLst>
              <a:ext uri="{FF2B5EF4-FFF2-40B4-BE49-F238E27FC236}">
                <a16:creationId xmlns:a16="http://schemas.microsoft.com/office/drawing/2014/main" id="{36DAE6AA-A47E-4409-80FA-269E66E8F4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9" y="1192"/>
            <a:ext cx="1587" cy="1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10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71510"/>
            <a:endParaRPr lang="en-US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389342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 hidden="1">
            <a:extLst>
              <a:ext uri="{FF2B5EF4-FFF2-40B4-BE49-F238E27FC236}">
                <a16:creationId xmlns:a16="http://schemas.microsoft.com/office/drawing/2014/main" id="{40B040A4-97F9-4BFF-AA6A-717831265B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9" y="1192"/>
            <a:ext cx="1587" cy="1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9602813-098A-4565-A2B8-8DC0EF032B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81046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B3C031-556E-45C3-9F8E-DAC1ACE22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1F8229F-931C-4461-8648-88C99A29B1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620EFB-FDD2-4A23-9797-ED5A582786FE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060462-8D7F-435E-BD5C-79F7FEFAAD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A155B05-1C9B-42B5-B6BE-C6EFB49635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4B6481-26EB-4B86-9DFA-C4684456B29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746364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615"/>
            <a:ext cx="7772400" cy="11017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947697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579218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884466"/>
          </a:xfrm>
          <a:prstGeom prst="rect">
            <a:avLst/>
          </a:prstGeom>
        </p:spPr>
        <p:txBody>
          <a:bodyPr anchor="ctr"/>
          <a:lstStyle>
            <a:lvl1pPr algn="l"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altLang="ko-KR" dirty="0"/>
              <a:t> Free PPT _ Click to add title</a:t>
            </a:r>
            <a:endParaRPr lang="ko-KR" alt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95536" y="1131591"/>
            <a:ext cx="8496944" cy="46064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0"/>
          </p:nvPr>
        </p:nvSpPr>
        <p:spPr>
          <a:xfrm>
            <a:off x="405880" y="1808261"/>
            <a:ext cx="8496944" cy="2995737"/>
          </a:xfrm>
          <a:prstGeom prst="rect">
            <a:avLst/>
          </a:prstGeom>
        </p:spPr>
        <p:txBody>
          <a:bodyPr lIns="396000" anchor="t"/>
          <a:lstStyle>
            <a:lvl1pPr marL="0" indent="0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1582653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2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2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883525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4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951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4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1631951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430293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229215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609FC10-21C3-4BF7-8786-1DCA12FB286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9915" y="1276351"/>
            <a:ext cx="2124031" cy="2087562"/>
          </a:xfrm>
          <a:custGeom>
            <a:avLst/>
            <a:gdLst>
              <a:gd name="connsiteX0" fmla="*/ 1062016 w 2124031"/>
              <a:gd name="connsiteY0" fmla="*/ 0 h 2087562"/>
              <a:gd name="connsiteX1" fmla="*/ 2124031 w 2124031"/>
              <a:gd name="connsiteY1" fmla="*/ 1043781 h 2087562"/>
              <a:gd name="connsiteX2" fmla="*/ 1062016 w 2124031"/>
              <a:gd name="connsiteY2" fmla="*/ 2087562 h 2087562"/>
              <a:gd name="connsiteX3" fmla="*/ 0 w 2124031"/>
              <a:gd name="connsiteY3" fmla="*/ 1043781 h 2087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24031" h="2087562">
                <a:moveTo>
                  <a:pt x="1062016" y="0"/>
                </a:moveTo>
                <a:lnTo>
                  <a:pt x="2124031" y="1043781"/>
                </a:lnTo>
                <a:lnTo>
                  <a:pt x="1062016" y="2087562"/>
                </a:lnTo>
                <a:lnTo>
                  <a:pt x="0" y="104378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842050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04790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90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178" indent="0">
              <a:buNone/>
              <a:defRPr sz="1200"/>
            </a:lvl2pPr>
            <a:lvl3pPr marL="914355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4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437065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5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4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901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178" indent="0">
              <a:buNone/>
              <a:defRPr sz="1200"/>
            </a:lvl2pPr>
            <a:lvl3pPr marL="914355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4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453600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79976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7675D6E-7079-49B7-9D0B-CFFF6692F4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620EFB-FDD2-4A23-9797-ED5A582786FE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6C065DE-06D6-4C2A-82DF-159499BDD5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3C5A73-27DF-44AD-901F-433B6507AB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4B6481-26EB-4B86-9DFA-C4684456B29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763174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6377"/>
            <a:ext cx="2057400" cy="438785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6377"/>
            <a:ext cx="6019800" cy="43878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747316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084BA7BB-BAAE-4BEC-B7ED-B72508F07747}"/>
              </a:ext>
            </a:extLst>
          </p:cNvPr>
          <p:cNvSpPr/>
          <p:nvPr userDrawn="1"/>
        </p:nvSpPr>
        <p:spPr>
          <a:xfrm>
            <a:off x="0" y="1655775"/>
            <a:ext cx="5796136" cy="2088232"/>
          </a:xfrm>
          <a:prstGeom prst="rect">
            <a:avLst/>
          </a:prstGeom>
          <a:solidFill>
            <a:srgbClr val="F2812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 latinLnBrk="1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B5A9ACC-3474-4C09-A103-FDF2825EAF2A}"/>
              </a:ext>
            </a:extLst>
          </p:cNvPr>
          <p:cNvSpPr/>
          <p:nvPr userDrawn="1"/>
        </p:nvSpPr>
        <p:spPr>
          <a:xfrm>
            <a:off x="1" y="3744006"/>
            <a:ext cx="5508104" cy="51881"/>
          </a:xfrm>
          <a:prstGeom prst="rect">
            <a:avLst/>
          </a:prstGeom>
          <a:solidFill>
            <a:srgbClr val="273A8A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 latinLnBrk="1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2FFAEE8-7449-4CB0-B9E9-472F01E716A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71552" y="2139952"/>
            <a:ext cx="3529013" cy="936625"/>
          </a:xfrm>
        </p:spPr>
        <p:txBody>
          <a:bodyPr>
            <a:normAutofit/>
          </a:bodyPr>
          <a:lstStyle>
            <a:lvl1pPr marL="0" indent="0">
              <a:buNone/>
              <a:defRPr sz="4000"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106127267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640783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992362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884466"/>
          </a:xfrm>
          <a:prstGeom prst="rect">
            <a:avLst/>
          </a:prstGeom>
        </p:spPr>
        <p:txBody>
          <a:bodyPr anchor="ctr"/>
          <a:lstStyle>
            <a:lvl1pPr algn="l"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altLang="ko-KR" dirty="0"/>
              <a:t> Free PPT _ Click to add title</a:t>
            </a:r>
            <a:endParaRPr lang="ko-KR" alt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95536" y="1131590"/>
            <a:ext cx="8496944" cy="46064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0"/>
          </p:nvPr>
        </p:nvSpPr>
        <p:spPr>
          <a:xfrm>
            <a:off x="405880" y="1808261"/>
            <a:ext cx="8496944" cy="2995737"/>
          </a:xfrm>
          <a:prstGeom prst="rect">
            <a:avLst/>
          </a:prstGeom>
        </p:spPr>
        <p:txBody>
          <a:bodyPr lIns="396000" anchor="t"/>
          <a:lstStyle>
            <a:lvl1pPr marL="0" indent="0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4500566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90158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463640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038643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609FC10-21C3-4BF7-8786-1DCA12FB286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9913" y="1276351"/>
            <a:ext cx="2124031" cy="2087562"/>
          </a:xfrm>
          <a:custGeom>
            <a:avLst/>
            <a:gdLst>
              <a:gd name="connsiteX0" fmla="*/ 1062016 w 2124031"/>
              <a:gd name="connsiteY0" fmla="*/ 0 h 2087562"/>
              <a:gd name="connsiteX1" fmla="*/ 2124031 w 2124031"/>
              <a:gd name="connsiteY1" fmla="*/ 1043781 h 2087562"/>
              <a:gd name="connsiteX2" fmla="*/ 1062016 w 2124031"/>
              <a:gd name="connsiteY2" fmla="*/ 2087562 h 2087562"/>
              <a:gd name="connsiteX3" fmla="*/ 0 w 2124031"/>
              <a:gd name="connsiteY3" fmla="*/ 1043781 h 2087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24031" h="2087562">
                <a:moveTo>
                  <a:pt x="1062016" y="0"/>
                </a:moveTo>
                <a:lnTo>
                  <a:pt x="2124031" y="1043781"/>
                </a:lnTo>
                <a:lnTo>
                  <a:pt x="1062016" y="2087562"/>
                </a:lnTo>
                <a:lnTo>
                  <a:pt x="0" y="104378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9057813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22235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3390D2-0C37-4BBB-98B0-22613EC6C1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66C5FD-0CA0-47FC-9E1E-C060CB10C2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4E56C1F-7010-4104-A67B-06B6F61C65A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70A2EDC-E97D-4670-86AB-F7247C594B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620EFB-FDD2-4A23-9797-ED5A582786FE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EC2AEB3-CA1E-43D8-BF6C-7DC2CB0F5F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D3902AF-26DC-43BF-800D-0324383FE3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4B6481-26EB-4B86-9DFA-C4684456B29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090601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443213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615949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6375"/>
            <a:ext cx="2057400" cy="438785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6375"/>
            <a:ext cx="6019800" cy="43878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772321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615"/>
            <a:ext cx="7772400" cy="11017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267216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29024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884466"/>
          </a:xfrm>
          <a:prstGeom prst="rect">
            <a:avLst/>
          </a:prstGeom>
        </p:spPr>
        <p:txBody>
          <a:bodyPr anchor="ctr"/>
          <a:lstStyle>
            <a:lvl1pPr algn="l"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altLang="ko-KR" dirty="0"/>
              <a:t> Free PPT _ Click to add title</a:t>
            </a:r>
            <a:endParaRPr lang="ko-KR" alt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95536" y="1131591"/>
            <a:ext cx="8496944" cy="46064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0"/>
          </p:nvPr>
        </p:nvSpPr>
        <p:spPr>
          <a:xfrm>
            <a:off x="405880" y="1808261"/>
            <a:ext cx="8496944" cy="2995737"/>
          </a:xfrm>
          <a:prstGeom prst="rect">
            <a:avLst/>
          </a:prstGeom>
        </p:spPr>
        <p:txBody>
          <a:bodyPr lIns="396000" anchor="t"/>
          <a:lstStyle>
            <a:lvl1pPr marL="0" indent="0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0282179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2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2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237191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4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951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4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1631951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995162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545871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609FC10-21C3-4BF7-8786-1DCA12FB286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9915" y="1276351"/>
            <a:ext cx="2124031" cy="2087562"/>
          </a:xfrm>
          <a:custGeom>
            <a:avLst/>
            <a:gdLst>
              <a:gd name="connsiteX0" fmla="*/ 1062016 w 2124031"/>
              <a:gd name="connsiteY0" fmla="*/ 0 h 2087562"/>
              <a:gd name="connsiteX1" fmla="*/ 2124031 w 2124031"/>
              <a:gd name="connsiteY1" fmla="*/ 1043781 h 2087562"/>
              <a:gd name="connsiteX2" fmla="*/ 1062016 w 2124031"/>
              <a:gd name="connsiteY2" fmla="*/ 2087562 h 2087562"/>
              <a:gd name="connsiteX3" fmla="*/ 0 w 2124031"/>
              <a:gd name="connsiteY3" fmla="*/ 1043781 h 2087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24031" h="2087562">
                <a:moveTo>
                  <a:pt x="1062016" y="0"/>
                </a:moveTo>
                <a:lnTo>
                  <a:pt x="2124031" y="1043781"/>
                </a:lnTo>
                <a:lnTo>
                  <a:pt x="1062016" y="2087562"/>
                </a:lnTo>
                <a:lnTo>
                  <a:pt x="0" y="104378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37903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669F8D-F1ED-4251-B3D6-E716336D6D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E33FFC2-2F94-4110-8FE9-3CA439DFA64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2CCF64F-2842-42CF-AFEA-BFE5E4CE25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C8310CD-46C5-4F9D-9438-A6B0DE81E9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620EFB-FDD2-4A23-9797-ED5A582786FE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1651C72-A0B8-4935-8587-262A80CB5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F6888A6-1E6A-47BB-89DA-04D44F3666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4B6481-26EB-4B86-9DFA-C4684456B29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679938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04790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90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178" indent="0">
              <a:buNone/>
              <a:defRPr sz="1200"/>
            </a:lvl2pPr>
            <a:lvl3pPr marL="914355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4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091156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5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4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901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178" indent="0">
              <a:buNone/>
              <a:defRPr sz="1200"/>
            </a:lvl2pPr>
            <a:lvl3pPr marL="914355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4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308608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401833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6377"/>
            <a:ext cx="2057400" cy="438785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6377"/>
            <a:ext cx="6019800" cy="43878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770223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141035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954589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884466"/>
          </a:xfrm>
          <a:prstGeom prst="rect">
            <a:avLst/>
          </a:prstGeom>
        </p:spPr>
        <p:txBody>
          <a:bodyPr anchor="ctr"/>
          <a:lstStyle>
            <a:lvl1pPr algn="l"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altLang="ko-KR" dirty="0"/>
              <a:t> Free PPT _ Click to add title</a:t>
            </a:r>
            <a:endParaRPr lang="ko-KR" alt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95536" y="1131590"/>
            <a:ext cx="8496944" cy="46064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0"/>
          </p:nvPr>
        </p:nvSpPr>
        <p:spPr>
          <a:xfrm>
            <a:off x="405880" y="1808261"/>
            <a:ext cx="8496944" cy="2995737"/>
          </a:xfrm>
          <a:prstGeom prst="rect">
            <a:avLst/>
          </a:prstGeom>
        </p:spPr>
        <p:txBody>
          <a:bodyPr lIns="396000" anchor="t"/>
          <a:lstStyle>
            <a:lvl1pPr marL="0" indent="0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601903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74389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575966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67642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96.xml"/><Relationship Id="rId7" Type="http://schemas.openxmlformats.org/officeDocument/2006/relationships/slideLayout" Target="../slideLayouts/slideLayout100.xml"/><Relationship Id="rId12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98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Relationship Id="rId14" Type="http://schemas.openxmlformats.org/officeDocument/2006/relationships/image" Target="../media/image1.jp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image" Target="../media/image13.emf"/><Relationship Id="rId3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112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5" Type="http://schemas.openxmlformats.org/officeDocument/2006/relationships/slideLayout" Target="../slideLayouts/slideLayout110.xml"/><Relationship Id="rId15" Type="http://schemas.openxmlformats.org/officeDocument/2006/relationships/image" Target="../media/image15.emf"/><Relationship Id="rId10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Relationship Id="rId14" Type="http://schemas.openxmlformats.org/officeDocument/2006/relationships/image" Target="../media/image14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image" Target="../media/image1.jp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image" Target="../media/image2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image" Target="../media/image2.png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26" Type="http://schemas.openxmlformats.org/officeDocument/2006/relationships/tags" Target="../tags/tag22.xml"/><Relationship Id="rId3" Type="http://schemas.openxmlformats.org/officeDocument/2006/relationships/slideLayout" Target="../slideLayouts/slideLayout59.xml"/><Relationship Id="rId21" Type="http://schemas.openxmlformats.org/officeDocument/2006/relationships/tags" Target="../tags/tag17.xml"/><Relationship Id="rId34" Type="http://schemas.openxmlformats.org/officeDocument/2006/relationships/image" Target="../media/image5.png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tags" Target="../tags/tag21.xml"/><Relationship Id="rId33" Type="http://schemas.openxmlformats.org/officeDocument/2006/relationships/image" Target="../media/image4.emf"/><Relationship Id="rId2" Type="http://schemas.openxmlformats.org/officeDocument/2006/relationships/slideLayout" Target="../slideLayouts/slideLayout58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57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tags" Target="../tags/tag20.xml"/><Relationship Id="rId32" Type="http://schemas.openxmlformats.org/officeDocument/2006/relationships/tags" Target="../tags/tag28.xml"/><Relationship Id="rId5" Type="http://schemas.openxmlformats.org/officeDocument/2006/relationships/tags" Target="../tags/tag1.x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28" Type="http://schemas.openxmlformats.org/officeDocument/2006/relationships/tags" Target="../tags/tag24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31" Type="http://schemas.openxmlformats.org/officeDocument/2006/relationships/tags" Target="../tags/tag27.xml"/><Relationship Id="rId4" Type="http://schemas.openxmlformats.org/officeDocument/2006/relationships/theme" Target="../theme/theme6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Relationship Id="rId27" Type="http://schemas.openxmlformats.org/officeDocument/2006/relationships/tags" Target="../tags/tag23.xml"/><Relationship Id="rId30" Type="http://schemas.openxmlformats.org/officeDocument/2006/relationships/tags" Target="../tags/tag26.xml"/><Relationship Id="rId8" Type="http://schemas.openxmlformats.org/officeDocument/2006/relationships/tags" Target="../tags/tag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image" Target="../media/image1.jp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81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0D63455-126E-42B4-ABE8-1394B560A9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B5BD6E-019B-4885-8F55-6748D78D8E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FE15E3-CC44-4BAF-9C78-8769DFC8C4F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8620EFB-FDD2-4A23-9797-ED5A582786FE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4E7A48-0A56-4AB1-A67A-EFDE499EF9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575128-8E91-48F8-AA7C-DE3500E7CB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4B6481-26EB-4B86-9DFA-C4684456B29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24434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55576" y="1347614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8229600" cy="3394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97A6A78-E037-4C3A-89A7-89043213B78E}"/>
              </a:ext>
            </a:extLst>
          </p:cNvPr>
          <p:cNvSpPr/>
          <p:nvPr userDrawn="1"/>
        </p:nvSpPr>
        <p:spPr>
          <a:xfrm>
            <a:off x="0" y="1131590"/>
            <a:ext cx="9144000" cy="40119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63745E6-9FBB-46AB-8D5C-FC7D44863EE9}"/>
              </a:ext>
            </a:extLst>
          </p:cNvPr>
          <p:cNvSpPr/>
          <p:nvPr userDrawn="1"/>
        </p:nvSpPr>
        <p:spPr>
          <a:xfrm>
            <a:off x="0" y="891232"/>
            <a:ext cx="255712" cy="40119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C3BFA0-9E5B-401B-B5C8-BB0F4A546086}"/>
              </a:ext>
            </a:extLst>
          </p:cNvPr>
          <p:cNvSpPr/>
          <p:nvPr userDrawn="1"/>
        </p:nvSpPr>
        <p:spPr>
          <a:xfrm>
            <a:off x="0" y="4937124"/>
            <a:ext cx="9144000" cy="206375"/>
          </a:xfrm>
          <a:prstGeom prst="rect">
            <a:avLst/>
          </a:prstGeom>
          <a:solidFill>
            <a:srgbClr val="273A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AA9FD5F-3C29-471D-BDBE-3DC118E86403}"/>
              </a:ext>
            </a:extLst>
          </p:cNvPr>
          <p:cNvGrpSpPr/>
          <p:nvPr userDrawn="1"/>
        </p:nvGrpSpPr>
        <p:grpSpPr>
          <a:xfrm>
            <a:off x="179512" y="128414"/>
            <a:ext cx="1152128" cy="1080120"/>
            <a:chOff x="179512" y="128414"/>
            <a:chExt cx="1152128" cy="1080120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4D77CCF-9A3F-404E-9DDC-FB1CCCFF33D4}"/>
                </a:ext>
              </a:extLst>
            </p:cNvPr>
            <p:cNvSpPr txBox="1"/>
            <p:nvPr userDrawn="1"/>
          </p:nvSpPr>
          <p:spPr>
            <a:xfrm>
              <a:off x="179512" y="205358"/>
              <a:ext cx="1008112" cy="9262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CA6143B9-5A4D-4CC2-A5AD-3BC438BBF99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" b="149"/>
            <a:stretch/>
          </p:blipFill>
          <p:spPr>
            <a:xfrm>
              <a:off x="323528" y="128414"/>
              <a:ext cx="1008112" cy="10801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33158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2" r:id="rId1"/>
    <p:sldLayoutId id="2147483983" r:id="rId2"/>
    <p:sldLayoutId id="2147483984" r:id="rId3"/>
    <p:sldLayoutId id="2147483985" r:id="rId4"/>
    <p:sldLayoutId id="2147483986" r:id="rId5"/>
    <p:sldLayoutId id="2147483987" r:id="rId6"/>
    <p:sldLayoutId id="2147483988" r:id="rId7"/>
    <p:sldLayoutId id="2147483989" r:id="rId8"/>
    <p:sldLayoutId id="2147483990" r:id="rId9"/>
    <p:sldLayoutId id="2147483991" r:id="rId10"/>
    <p:sldLayoutId id="2147483992" r:id="rId11"/>
    <p:sldLayoutId id="2147483993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7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6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F6AEF2-20D4-7547-BF78-1F3F36FB60DC}" type="datetimeFigureOut">
              <a:rPr lang="en-US" smtClean="0"/>
              <a:t>27/0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6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6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6F64E4-CF39-E842-A871-400C57C21E39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F5837F4-0EF0-4EB8-A16D-265E78EE0C93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2" y="0"/>
            <a:ext cx="289775" cy="5143500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E9B523F6-A9A3-46FE-B2B7-E53C7D2853E4}"/>
              </a:ext>
            </a:extLst>
          </p:cNvPr>
          <p:cNvGrpSpPr/>
          <p:nvPr userDrawn="1"/>
        </p:nvGrpSpPr>
        <p:grpSpPr>
          <a:xfrm>
            <a:off x="6967438" y="4588152"/>
            <a:ext cx="1755542" cy="555651"/>
            <a:chOff x="9289915" y="6117536"/>
            <a:chExt cx="2340722" cy="740868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5D186BF-73E8-40E9-BF74-18F83D802152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289915" y="6117536"/>
              <a:ext cx="2340722" cy="381553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A68DA85E-4B77-46C1-A974-11D1BE5A68EF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9289915" y="6671146"/>
              <a:ext cx="2340722" cy="18725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24499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1" r:id="rId1"/>
    <p:sldLayoutId id="2147484092" r:id="rId2"/>
    <p:sldLayoutId id="2147484093" r:id="rId3"/>
    <p:sldLayoutId id="2147484094" r:id="rId4"/>
    <p:sldLayoutId id="2147484095" r:id="rId5"/>
    <p:sldLayoutId id="2147484096" r:id="rId6"/>
    <p:sldLayoutId id="2147484097" r:id="rId7"/>
    <p:sldLayoutId id="2147484098" r:id="rId8"/>
    <p:sldLayoutId id="2147484099" r:id="rId9"/>
    <p:sldLayoutId id="2147484100" r:id="rId10"/>
    <p:sldLayoutId id="2147484101" r:id="rId11"/>
  </p:sldLayoutIdLst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Gill Sans"/>
          <a:ea typeface="+mj-ea"/>
          <a:cs typeface="+mj-cs"/>
        </a:defRPr>
      </a:lvl1pPr>
    </p:titleStyle>
    <p:bodyStyle>
      <a:lvl1pPr marL="171446" indent="-171446" algn="l" defTabSz="685783" rtl="0" eaLnBrk="1" latinLnBrk="0" hangingPunct="1">
        <a:lnSpc>
          <a:spcPct val="90000"/>
        </a:lnSpc>
        <a:spcBef>
          <a:spcPts val="750"/>
        </a:spcBef>
        <a:buFont typeface="Arial"/>
        <a:buChar char="•"/>
        <a:defRPr sz="2100" kern="1200">
          <a:solidFill>
            <a:schemeClr val="tx1"/>
          </a:solidFill>
          <a:latin typeface="Gill Sans Light"/>
          <a:ea typeface="+mn-ea"/>
          <a:cs typeface="+mn-cs"/>
        </a:defRPr>
      </a:lvl1pPr>
      <a:lvl2pPr marL="514337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800" kern="1200">
          <a:solidFill>
            <a:schemeClr val="tx1"/>
          </a:solidFill>
          <a:latin typeface="Gill Sans Light"/>
          <a:ea typeface="+mn-ea"/>
          <a:cs typeface="+mn-cs"/>
        </a:defRPr>
      </a:lvl2pPr>
      <a:lvl3pPr marL="857228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500" kern="1200">
          <a:solidFill>
            <a:schemeClr val="tx1"/>
          </a:solidFill>
          <a:latin typeface="Gill Sans Light"/>
          <a:ea typeface="+mn-ea"/>
          <a:cs typeface="+mn-cs"/>
        </a:defRPr>
      </a:lvl3pPr>
      <a:lvl4pPr marL="1200120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Gill Sans Light"/>
          <a:ea typeface="+mn-ea"/>
          <a:cs typeface="+mn-cs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Gill Sans Ligh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55576" y="1347614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8229600" cy="3394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97A6A78-E037-4C3A-89A7-89043213B78E}"/>
              </a:ext>
            </a:extLst>
          </p:cNvPr>
          <p:cNvSpPr/>
          <p:nvPr userDrawn="1"/>
        </p:nvSpPr>
        <p:spPr>
          <a:xfrm>
            <a:off x="0" y="1131590"/>
            <a:ext cx="9144000" cy="40119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63745E6-9FBB-46AB-8D5C-FC7D44863EE9}"/>
              </a:ext>
            </a:extLst>
          </p:cNvPr>
          <p:cNvSpPr/>
          <p:nvPr userDrawn="1"/>
        </p:nvSpPr>
        <p:spPr>
          <a:xfrm>
            <a:off x="0" y="891232"/>
            <a:ext cx="255712" cy="40119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C3BFA0-9E5B-401B-B5C8-BB0F4A546086}"/>
              </a:ext>
            </a:extLst>
          </p:cNvPr>
          <p:cNvSpPr/>
          <p:nvPr userDrawn="1"/>
        </p:nvSpPr>
        <p:spPr>
          <a:xfrm>
            <a:off x="0" y="4937124"/>
            <a:ext cx="9144000" cy="206375"/>
          </a:xfrm>
          <a:prstGeom prst="rect">
            <a:avLst/>
          </a:prstGeom>
          <a:solidFill>
            <a:srgbClr val="273A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AA9FD5F-3C29-471D-BDBE-3DC118E86403}"/>
              </a:ext>
            </a:extLst>
          </p:cNvPr>
          <p:cNvGrpSpPr/>
          <p:nvPr userDrawn="1"/>
        </p:nvGrpSpPr>
        <p:grpSpPr>
          <a:xfrm>
            <a:off x="179512" y="128414"/>
            <a:ext cx="1152128" cy="1080120"/>
            <a:chOff x="179512" y="128414"/>
            <a:chExt cx="1152128" cy="1080120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4D77CCF-9A3F-404E-9DDC-FB1CCCFF33D4}"/>
                </a:ext>
              </a:extLst>
            </p:cNvPr>
            <p:cNvSpPr txBox="1"/>
            <p:nvPr userDrawn="1"/>
          </p:nvSpPr>
          <p:spPr>
            <a:xfrm>
              <a:off x="179512" y="205358"/>
              <a:ext cx="1008112" cy="9262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endParaRPr lang="en-US" dirty="0"/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CA6143B9-5A4D-4CC2-A5AD-3BC438BBF99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" b="149"/>
            <a:stretch/>
          </p:blipFill>
          <p:spPr>
            <a:xfrm>
              <a:off x="323528" y="128414"/>
              <a:ext cx="1008112" cy="10801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21239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73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55576" y="1347614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97A6A78-E037-4C3A-89A7-89043213B78E}"/>
              </a:ext>
            </a:extLst>
          </p:cNvPr>
          <p:cNvSpPr/>
          <p:nvPr userDrawn="1"/>
        </p:nvSpPr>
        <p:spPr>
          <a:xfrm>
            <a:off x="0" y="1131591"/>
            <a:ext cx="9144000" cy="40119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63745E6-9FBB-46AB-8D5C-FC7D44863EE9}"/>
              </a:ext>
            </a:extLst>
          </p:cNvPr>
          <p:cNvSpPr/>
          <p:nvPr userDrawn="1"/>
        </p:nvSpPr>
        <p:spPr>
          <a:xfrm>
            <a:off x="0" y="891233"/>
            <a:ext cx="255712" cy="40119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C3BFA0-9E5B-401B-B5C8-BB0F4A546086}"/>
              </a:ext>
            </a:extLst>
          </p:cNvPr>
          <p:cNvSpPr/>
          <p:nvPr userDrawn="1"/>
        </p:nvSpPr>
        <p:spPr>
          <a:xfrm>
            <a:off x="0" y="4937125"/>
            <a:ext cx="9144000" cy="206375"/>
          </a:xfrm>
          <a:prstGeom prst="rect">
            <a:avLst/>
          </a:prstGeom>
          <a:solidFill>
            <a:srgbClr val="273A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AA9FD5F-3C29-471D-BDBE-3DC118E86403}"/>
              </a:ext>
            </a:extLst>
          </p:cNvPr>
          <p:cNvGrpSpPr/>
          <p:nvPr userDrawn="1"/>
        </p:nvGrpSpPr>
        <p:grpSpPr>
          <a:xfrm>
            <a:off x="179512" y="128414"/>
            <a:ext cx="1152128" cy="1080120"/>
            <a:chOff x="179512" y="128414"/>
            <a:chExt cx="1152128" cy="1080120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4D77CCF-9A3F-404E-9DDC-FB1CCCFF33D4}"/>
                </a:ext>
              </a:extLst>
            </p:cNvPr>
            <p:cNvSpPr txBox="1"/>
            <p:nvPr userDrawn="1"/>
          </p:nvSpPr>
          <p:spPr>
            <a:xfrm>
              <a:off x="179512" y="205358"/>
              <a:ext cx="1008112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endParaRPr lang="en-US" sz="1800" dirty="0"/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CA6143B9-5A4D-4CC2-A5AD-3BC438BBF99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" b="149"/>
            <a:stretch/>
          </p:blipFill>
          <p:spPr>
            <a:xfrm>
              <a:off x="323528" y="128414"/>
              <a:ext cx="1008112" cy="10801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888301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</p:sldLayoutIdLst>
  <p:txStyles>
    <p:titleStyle>
      <a:lvl1pPr algn="ctr" defTabSz="914378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914378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defTabSz="914378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2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8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8" indent="-228594" algn="l" defTabSz="914378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55576" y="1347614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8229600" cy="3394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97A6A78-E037-4C3A-89A7-89043213B78E}"/>
              </a:ext>
            </a:extLst>
          </p:cNvPr>
          <p:cNvSpPr/>
          <p:nvPr userDrawn="1"/>
        </p:nvSpPr>
        <p:spPr>
          <a:xfrm>
            <a:off x="0" y="1131590"/>
            <a:ext cx="9144000" cy="40119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63745E6-9FBB-46AB-8D5C-FC7D44863EE9}"/>
              </a:ext>
            </a:extLst>
          </p:cNvPr>
          <p:cNvSpPr/>
          <p:nvPr userDrawn="1"/>
        </p:nvSpPr>
        <p:spPr>
          <a:xfrm>
            <a:off x="0" y="891232"/>
            <a:ext cx="255712" cy="40119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C3BFA0-9E5B-401B-B5C8-BB0F4A546086}"/>
              </a:ext>
            </a:extLst>
          </p:cNvPr>
          <p:cNvSpPr/>
          <p:nvPr userDrawn="1"/>
        </p:nvSpPr>
        <p:spPr>
          <a:xfrm>
            <a:off x="0" y="4937124"/>
            <a:ext cx="9144000" cy="206375"/>
          </a:xfrm>
          <a:prstGeom prst="rect">
            <a:avLst/>
          </a:prstGeom>
          <a:solidFill>
            <a:srgbClr val="273A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AA9FD5F-3C29-471D-BDBE-3DC118E86403}"/>
              </a:ext>
            </a:extLst>
          </p:cNvPr>
          <p:cNvGrpSpPr/>
          <p:nvPr userDrawn="1"/>
        </p:nvGrpSpPr>
        <p:grpSpPr>
          <a:xfrm>
            <a:off x="179512" y="128414"/>
            <a:ext cx="1152128" cy="1080120"/>
            <a:chOff x="179512" y="128414"/>
            <a:chExt cx="1152128" cy="1080120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4D77CCF-9A3F-404E-9DDC-FB1CCCFF33D4}"/>
                </a:ext>
              </a:extLst>
            </p:cNvPr>
            <p:cNvSpPr txBox="1"/>
            <p:nvPr userDrawn="1"/>
          </p:nvSpPr>
          <p:spPr>
            <a:xfrm>
              <a:off x="179512" y="205358"/>
              <a:ext cx="1008112" cy="9262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endParaRPr lang="en-US" dirty="0"/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CA6143B9-5A4D-4CC2-A5AD-3BC438BBF99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8" b="149"/>
            <a:stretch/>
          </p:blipFill>
          <p:spPr>
            <a:xfrm>
              <a:off x="323528" y="128414"/>
              <a:ext cx="1008112" cy="10801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416867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55576" y="1347614"/>
            <a:ext cx="8229600" cy="857250"/>
          </a:xfrm>
          <a:prstGeom prst="rect">
            <a:avLst/>
          </a:prstGeom>
        </p:spPr>
        <p:txBody>
          <a:bodyPr vert="horz" lIns="91438" tIns="45719" rIns="91438" bIns="45719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075"/>
          </a:xfrm>
          <a:prstGeom prst="rect">
            <a:avLst/>
          </a:prstGeom>
        </p:spPr>
        <p:txBody>
          <a:bodyPr vert="horz" lIns="91438" tIns="45719" rIns="91438" bIns="45719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4637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8"/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378"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4637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8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4637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8"/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378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97A6A78-E037-4C3A-89A7-89043213B78E}"/>
              </a:ext>
            </a:extLst>
          </p:cNvPr>
          <p:cNvSpPr/>
          <p:nvPr userDrawn="1"/>
        </p:nvSpPr>
        <p:spPr>
          <a:xfrm>
            <a:off x="0" y="1131591"/>
            <a:ext cx="9144000" cy="40119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 defTabSz="914378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63745E6-9FBB-46AB-8D5C-FC7D44863EE9}"/>
              </a:ext>
            </a:extLst>
          </p:cNvPr>
          <p:cNvSpPr/>
          <p:nvPr userDrawn="1"/>
        </p:nvSpPr>
        <p:spPr>
          <a:xfrm>
            <a:off x="0" y="891233"/>
            <a:ext cx="255712" cy="40119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 defTabSz="914378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C3BFA0-9E5B-401B-B5C8-BB0F4A546086}"/>
              </a:ext>
            </a:extLst>
          </p:cNvPr>
          <p:cNvSpPr/>
          <p:nvPr userDrawn="1"/>
        </p:nvSpPr>
        <p:spPr>
          <a:xfrm>
            <a:off x="0" y="4937125"/>
            <a:ext cx="9144000" cy="206375"/>
          </a:xfrm>
          <a:prstGeom prst="rect">
            <a:avLst/>
          </a:prstGeom>
          <a:solidFill>
            <a:srgbClr val="273A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 defTabSz="914378"/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AA9FD5F-3C29-471D-BDBE-3DC118E86403}"/>
              </a:ext>
            </a:extLst>
          </p:cNvPr>
          <p:cNvGrpSpPr/>
          <p:nvPr userDrawn="1"/>
        </p:nvGrpSpPr>
        <p:grpSpPr>
          <a:xfrm>
            <a:off x="179512" y="128414"/>
            <a:ext cx="1152128" cy="1080120"/>
            <a:chOff x="179512" y="128414"/>
            <a:chExt cx="1152128" cy="1080120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4D77CCF-9A3F-404E-9DDC-FB1CCCFF33D4}"/>
                </a:ext>
              </a:extLst>
            </p:cNvPr>
            <p:cNvSpPr txBox="1"/>
            <p:nvPr userDrawn="1"/>
          </p:nvSpPr>
          <p:spPr>
            <a:xfrm>
              <a:off x="179512" y="205358"/>
              <a:ext cx="1008112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defTabSz="914378"/>
              <a:endParaRPr lang="en-US" dirty="0">
                <a:solidFill>
                  <a:prstClr val="black"/>
                </a:solidFill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CA6143B9-5A4D-4CC2-A5AD-3BC438BBF99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" b="149"/>
            <a:stretch/>
          </p:blipFill>
          <p:spPr>
            <a:xfrm>
              <a:off x="323528" y="128414"/>
              <a:ext cx="1008112" cy="10801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606831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</p:sldLayoutIdLst>
  <p:txStyles>
    <p:titleStyle>
      <a:lvl1pPr algn="ctr" defTabSz="914378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914378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defTabSz="914378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2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8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8" indent="-228594" algn="l" defTabSz="914378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 hidden="1"/>
          <p:cNvPicPr>
            <a:picLocks noChangeAspect="1" noChangeArrowheads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61984" cy="121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 hidden="1"/>
          <p:cNvSpPr/>
          <p:nvPr>
            <p:custDataLst>
              <p:tags r:id="rId5"/>
            </p:custDataLst>
          </p:nvPr>
        </p:nvSpPr>
        <p:spPr bwMode="auto">
          <a:xfrm>
            <a:off x="0" y="0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224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02740" y="176148"/>
            <a:ext cx="8612864" cy="2355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302740" y="57979"/>
            <a:ext cx="33182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6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302740" y="424603"/>
            <a:ext cx="861286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00" baseline="0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21491" y="4827950"/>
            <a:ext cx="636503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67866" indent="-67866">
              <a:defRPr/>
            </a:pPr>
            <a:r>
              <a:rPr lang="en-US" sz="600" baseline="0" dirty="0">
                <a:solidFill>
                  <a:schemeClr val="accent6"/>
                </a:solidFill>
                <a:latin typeface="+mn-lt"/>
                <a:ea typeface="+mn-ea"/>
              </a:rPr>
              <a:t>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21491" y="4982231"/>
            <a:ext cx="636503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48854" indent="-348854" defTabSz="671510">
              <a:tabLst>
                <a:tab pos="472677" algn="l"/>
              </a:tabLst>
            </a:pPr>
            <a:r>
              <a:rPr lang="en-US" sz="6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82157" y="1493262"/>
            <a:ext cx="4389768" cy="92333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82156" y="963693"/>
            <a:ext cx="4350892" cy="387524"/>
            <a:chOff x="915" y="711"/>
            <a:chExt cx="2686" cy="319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1"/>
              <a:ext cx="2686" cy="31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2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2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604149" y="218668"/>
            <a:ext cx="311432" cy="120033"/>
            <a:chOff x="8435560" y="285750"/>
            <a:chExt cx="305215" cy="15685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35560" y="285750"/>
              <a:ext cx="305215" cy="15685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71510">
                <a:buClr>
                  <a:srgbClr val="002960"/>
                </a:buClr>
              </a:pPr>
              <a:r>
                <a:rPr lang="en-US" sz="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35560" y="285750"/>
              <a:ext cx="0" cy="156857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35560" y="442607"/>
              <a:ext cx="30521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9" name="LegendLines" hidden="1"/>
          <p:cNvGrpSpPr/>
          <p:nvPr/>
        </p:nvGrpSpPr>
        <p:grpSpPr>
          <a:xfrm>
            <a:off x="7697296" y="208414"/>
            <a:ext cx="1078370" cy="579479"/>
            <a:chOff x="7607284" y="279400"/>
            <a:chExt cx="1056840" cy="75725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8169259" y="279400"/>
              <a:ext cx="494864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0">
                <a:buClr>
                  <a:schemeClr val="tx2"/>
                </a:buClr>
              </a:pPr>
              <a:r>
                <a:rPr lang="en-US" sz="105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8169259" y="546100"/>
              <a:ext cx="49486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0">
                <a:buClr>
                  <a:schemeClr val="tx2"/>
                </a:buClr>
              </a:pPr>
              <a:r>
                <a:rPr lang="en-US" sz="105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825501"/>
              <a:ext cx="49486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0">
                <a:buClr>
                  <a:schemeClr val="tx2"/>
                </a:buClr>
              </a:pPr>
              <a:r>
                <a:rPr lang="en-US" sz="105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8011552" y="208494"/>
            <a:ext cx="764121" cy="783566"/>
            <a:chOff x="5894005" y="919828"/>
            <a:chExt cx="748865" cy="1023956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6148005" y="919828"/>
              <a:ext cx="494864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0">
                <a:buClr>
                  <a:schemeClr val="tx2"/>
                </a:buClr>
              </a:pPr>
              <a:r>
                <a:rPr lang="en-US" sz="105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6148005" y="1189703"/>
              <a:ext cx="49486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0">
                <a:buClr>
                  <a:schemeClr val="tx2"/>
                </a:buClr>
              </a:pPr>
              <a:r>
                <a:rPr lang="en-US" sz="105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1461165"/>
              <a:ext cx="49486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0">
                <a:buClr>
                  <a:schemeClr val="tx2"/>
                </a:buClr>
              </a:pPr>
              <a:r>
                <a:rPr lang="en-US" sz="105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732629"/>
              <a:ext cx="49486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0">
                <a:buClr>
                  <a:schemeClr val="tx2"/>
                </a:buClr>
              </a:pPr>
              <a:r>
                <a:rPr lang="en-US" sz="105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7943512" y="208107"/>
            <a:ext cx="832154" cy="1005561"/>
            <a:chOff x="5894005" y="2695123"/>
            <a:chExt cx="815540" cy="1314057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6214680" y="2696542"/>
              <a:ext cx="494864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0">
                <a:buClr>
                  <a:schemeClr val="tx2"/>
                </a:buClr>
              </a:pPr>
              <a:r>
                <a:rPr lang="en-US" sz="105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6214680" y="2974157"/>
              <a:ext cx="49486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0">
                <a:buClr>
                  <a:schemeClr val="tx2"/>
                </a:buClr>
              </a:pPr>
              <a:r>
                <a:rPr lang="en-US" sz="105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3248596"/>
              <a:ext cx="49486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0">
                <a:buClr>
                  <a:schemeClr val="tx2"/>
                </a:buClr>
              </a:pPr>
              <a:r>
                <a:rPr lang="en-US" sz="105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3521448"/>
              <a:ext cx="49486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0">
                <a:buClr>
                  <a:schemeClr val="tx2"/>
                </a:buClr>
              </a:pPr>
              <a:r>
                <a:rPr lang="en-US" sz="105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796682"/>
              <a:ext cx="49486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0">
                <a:buClr>
                  <a:schemeClr val="tx2"/>
                </a:buClr>
              </a:pPr>
              <a:r>
                <a:rPr lang="en-US" sz="105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3" name="Slide Number">
            <a:extLst>
              <a:ext uri="{FF2B5EF4-FFF2-40B4-BE49-F238E27FC236}">
                <a16:creationId xmlns:a16="http://schemas.microsoft.com/office/drawing/2014/main" id="{B286F918-1CBF-4604-9CC4-B9B1ADE4DCAD}"/>
              </a:ext>
            </a:extLst>
          </p:cNvPr>
          <p:cNvSpPr txBox="1">
            <a:spLocks/>
          </p:cNvSpPr>
          <p:nvPr/>
        </p:nvSpPr>
        <p:spPr bwMode="auto">
          <a:xfrm>
            <a:off x="8960492" y="4983168"/>
            <a:ext cx="9457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600" baseline="0" smtClean="0">
                <a:solidFill>
                  <a:srgbClr val="808080"/>
                </a:solidFill>
                <a:latin typeface="+mn-lt"/>
              </a:rPr>
              <a:pPr algn="r"/>
              <a:t>‹#›</a:t>
            </a:fld>
            <a:endParaRPr lang="en-US" sz="6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CC22F4A2-181F-4BD0-A4F5-1FB1C88DAFD1}"/>
              </a:ext>
            </a:extLst>
          </p:cNvPr>
          <p:cNvSpPr/>
          <p:nvPr/>
        </p:nvSpPr>
        <p:spPr>
          <a:xfrm>
            <a:off x="3" y="0"/>
            <a:ext cx="49427" cy="51435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E824D034-726F-423B-8404-AABB6605A618}"/>
              </a:ext>
            </a:extLst>
          </p:cNvPr>
          <p:cNvSpPr/>
          <p:nvPr/>
        </p:nvSpPr>
        <p:spPr bwMode="ltGray">
          <a:xfrm>
            <a:off x="49428" y="0"/>
            <a:ext cx="203887" cy="126801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6B8DA834-8873-4C9A-8D12-D4BFC0970F13}"/>
              </a:ext>
            </a:extLst>
          </p:cNvPr>
          <p:cNvSpPr/>
          <p:nvPr/>
        </p:nvSpPr>
        <p:spPr>
          <a:xfrm>
            <a:off x="6713374" y="5057775"/>
            <a:ext cx="2133600" cy="857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pic>
        <p:nvPicPr>
          <p:cNvPr id="64" name="Picture 63">
            <a:extLst>
              <a:ext uri="{FF2B5EF4-FFF2-40B4-BE49-F238E27FC236}">
                <a16:creationId xmlns:a16="http://schemas.microsoft.com/office/drawing/2014/main" id="{7261C035-2832-4801-BF2C-78A6D5CAF8B0}"/>
              </a:ext>
            </a:extLst>
          </p:cNvPr>
          <p:cNvPicPr>
            <a:picLocks noChangeAspect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6714818" y="4764884"/>
            <a:ext cx="2115669" cy="257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62568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</p:sldLayoutIdLst>
  <p:txStyles>
    <p:titleStyle>
      <a:lvl1pPr algn="l" defTabSz="671510" rtl="0" eaLnBrk="1" fontAlgn="base" hangingPunct="1">
        <a:spcBef>
          <a:spcPct val="0"/>
        </a:spcBef>
        <a:spcAft>
          <a:spcPct val="0"/>
        </a:spcAft>
        <a:tabLst>
          <a:tab pos="202405" algn="l"/>
        </a:tabLst>
        <a:defRPr sz="15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671510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2pPr>
      <a:lvl3pPr algn="l" defTabSz="671510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3pPr>
      <a:lvl4pPr algn="l" defTabSz="671510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4pPr>
      <a:lvl5pPr algn="l" defTabSz="671510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5pPr>
      <a:lvl6pPr marL="342899" algn="l" defTabSz="671510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6pPr>
      <a:lvl7pPr marL="685797" algn="l" defTabSz="671510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7pPr>
      <a:lvl8pPr marL="1028696" algn="l" defTabSz="671510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8pPr>
      <a:lvl9pPr marL="1371595" algn="l" defTabSz="671510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9pPr>
    </p:titleStyle>
    <p:bodyStyle>
      <a:lvl1pPr marL="0" indent="0" algn="l" defTabSz="67151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145256" indent="-144065" algn="l" defTabSz="67151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00" baseline="0">
          <a:solidFill>
            <a:schemeClr val="tx1"/>
          </a:solidFill>
          <a:latin typeface="+mn-lt"/>
        </a:defRPr>
      </a:lvl2pPr>
      <a:lvl3pPr marL="342899" indent="-196453" algn="l" defTabSz="67151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00" baseline="0">
          <a:solidFill>
            <a:schemeClr val="tx1"/>
          </a:solidFill>
          <a:latin typeface="+mn-lt"/>
        </a:defRPr>
      </a:lvl3pPr>
      <a:lvl4pPr marL="460771" indent="-116681" algn="l" defTabSz="67151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00" baseline="0">
          <a:solidFill>
            <a:schemeClr val="tx1"/>
          </a:solidFill>
          <a:latin typeface="+mn-lt"/>
        </a:defRPr>
      </a:lvl4pPr>
      <a:lvl5pPr marL="562354" indent="-97631" algn="l" defTabSz="67151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5pPr>
      <a:lvl6pPr marL="562354" indent="-97631" algn="l" defTabSz="67151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6pPr>
      <a:lvl7pPr marL="562354" indent="-97631" algn="l" defTabSz="67151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7pPr>
      <a:lvl8pPr marL="562354" indent="-97631" algn="l" defTabSz="67151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8pPr>
      <a:lvl9pPr marL="562354" indent="-97631" algn="l" defTabSz="67151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7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9" algn="l" defTabSz="6857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97" algn="l" defTabSz="6857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96" algn="l" defTabSz="6857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95" algn="l" defTabSz="6857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93" algn="l" defTabSz="6857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92" algn="l" defTabSz="6857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90" algn="l" defTabSz="6857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89" algn="l" defTabSz="6857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55576" y="1347614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2"/>
            <a:ext cx="8229600" cy="3394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5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8"/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378"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5"/>
            <a:ext cx="2895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8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5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8"/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378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97A6A78-E037-4C3A-89A7-89043213B78E}"/>
              </a:ext>
            </a:extLst>
          </p:cNvPr>
          <p:cNvSpPr/>
          <p:nvPr userDrawn="1"/>
        </p:nvSpPr>
        <p:spPr>
          <a:xfrm>
            <a:off x="0" y="1131591"/>
            <a:ext cx="9144000" cy="40119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 latinLnBrk="1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63745E6-9FBB-46AB-8D5C-FC7D44863EE9}"/>
              </a:ext>
            </a:extLst>
          </p:cNvPr>
          <p:cNvSpPr/>
          <p:nvPr userDrawn="1"/>
        </p:nvSpPr>
        <p:spPr>
          <a:xfrm>
            <a:off x="0" y="891234"/>
            <a:ext cx="255712" cy="40119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 latinLnBrk="1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C3BFA0-9E5B-401B-B5C8-BB0F4A546086}"/>
              </a:ext>
            </a:extLst>
          </p:cNvPr>
          <p:cNvSpPr/>
          <p:nvPr userDrawn="1"/>
        </p:nvSpPr>
        <p:spPr>
          <a:xfrm>
            <a:off x="0" y="4937126"/>
            <a:ext cx="9144000" cy="206375"/>
          </a:xfrm>
          <a:prstGeom prst="rect">
            <a:avLst/>
          </a:prstGeom>
          <a:solidFill>
            <a:srgbClr val="273A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 latinLnBrk="1"/>
            <a:endParaRPr lang="en-US" sz="1800" dirty="0">
              <a:solidFill>
                <a:prstClr val="white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AA9FD5F-3C29-471D-BDBE-3DC118E86403}"/>
              </a:ext>
            </a:extLst>
          </p:cNvPr>
          <p:cNvGrpSpPr/>
          <p:nvPr userDrawn="1"/>
        </p:nvGrpSpPr>
        <p:grpSpPr>
          <a:xfrm>
            <a:off x="179512" y="128414"/>
            <a:ext cx="1152128" cy="1080120"/>
            <a:chOff x="179512" y="128414"/>
            <a:chExt cx="1152128" cy="1080120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4D77CCF-9A3F-404E-9DDC-FB1CCCFF33D4}"/>
                </a:ext>
              </a:extLst>
            </p:cNvPr>
            <p:cNvSpPr txBox="1"/>
            <p:nvPr userDrawn="1"/>
          </p:nvSpPr>
          <p:spPr>
            <a:xfrm>
              <a:off x="179512" y="205358"/>
              <a:ext cx="1008112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defTabSz="914378" latinLnBrk="1"/>
              <a:endParaRPr lang="en-US" sz="1800" dirty="0">
                <a:solidFill>
                  <a:prstClr val="black"/>
                </a:solidFill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CA6143B9-5A4D-4CC2-A5AD-3BC438BBF99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" b="149"/>
            <a:stretch/>
          </p:blipFill>
          <p:spPr>
            <a:xfrm>
              <a:off x="323528" y="128414"/>
              <a:ext cx="1008112" cy="10801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30092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  <p:sldLayoutId id="2147483766" r:id="rId12"/>
  </p:sldLayoutIdLst>
  <p:txStyles>
    <p:titleStyle>
      <a:lvl1pPr algn="ctr" defTabSz="91435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84" indent="-342884" algn="l" defTabSz="914355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13" indent="-285736" algn="l" defTabSz="914355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4" indent="-228588" algn="l" defTabSz="91435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8" algn="l" defTabSz="914355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7" indent="-228588" algn="l" defTabSz="914355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8" algn="l" defTabSz="91435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8" algn="l" defTabSz="91435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8" algn="l" defTabSz="91435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8" algn="l" defTabSz="91435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4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8229600" cy="3394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97A6A78-E037-4C3A-89A7-89043213B78E}"/>
              </a:ext>
            </a:extLst>
          </p:cNvPr>
          <p:cNvSpPr/>
          <p:nvPr userDrawn="1"/>
        </p:nvSpPr>
        <p:spPr>
          <a:xfrm>
            <a:off x="0" y="1131590"/>
            <a:ext cx="9144000" cy="40119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63745E6-9FBB-46AB-8D5C-FC7D44863EE9}"/>
              </a:ext>
            </a:extLst>
          </p:cNvPr>
          <p:cNvSpPr/>
          <p:nvPr userDrawn="1"/>
        </p:nvSpPr>
        <p:spPr>
          <a:xfrm>
            <a:off x="0" y="891232"/>
            <a:ext cx="255712" cy="40119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C3BFA0-9E5B-401B-B5C8-BB0F4A546086}"/>
              </a:ext>
            </a:extLst>
          </p:cNvPr>
          <p:cNvSpPr/>
          <p:nvPr userDrawn="1"/>
        </p:nvSpPr>
        <p:spPr>
          <a:xfrm>
            <a:off x="0" y="4937124"/>
            <a:ext cx="9144000" cy="206375"/>
          </a:xfrm>
          <a:prstGeom prst="rect">
            <a:avLst/>
          </a:prstGeom>
          <a:solidFill>
            <a:srgbClr val="273A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21873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55576" y="1347614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2"/>
            <a:ext cx="8229600" cy="3394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5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8"/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378"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5"/>
            <a:ext cx="2895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8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5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8"/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378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97A6A78-E037-4C3A-89A7-89043213B78E}"/>
              </a:ext>
            </a:extLst>
          </p:cNvPr>
          <p:cNvSpPr/>
          <p:nvPr userDrawn="1"/>
        </p:nvSpPr>
        <p:spPr>
          <a:xfrm>
            <a:off x="0" y="1131591"/>
            <a:ext cx="9144000" cy="40119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63745E6-9FBB-46AB-8D5C-FC7D44863EE9}"/>
              </a:ext>
            </a:extLst>
          </p:cNvPr>
          <p:cNvSpPr/>
          <p:nvPr userDrawn="1"/>
        </p:nvSpPr>
        <p:spPr>
          <a:xfrm>
            <a:off x="0" y="891234"/>
            <a:ext cx="255712" cy="40119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C3BFA0-9E5B-401B-B5C8-BB0F4A546086}"/>
              </a:ext>
            </a:extLst>
          </p:cNvPr>
          <p:cNvSpPr/>
          <p:nvPr userDrawn="1"/>
        </p:nvSpPr>
        <p:spPr>
          <a:xfrm>
            <a:off x="0" y="4937126"/>
            <a:ext cx="9144000" cy="206375"/>
          </a:xfrm>
          <a:prstGeom prst="rect">
            <a:avLst/>
          </a:prstGeom>
          <a:solidFill>
            <a:srgbClr val="273A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AA9FD5F-3C29-471D-BDBE-3DC118E86403}"/>
              </a:ext>
            </a:extLst>
          </p:cNvPr>
          <p:cNvGrpSpPr/>
          <p:nvPr userDrawn="1"/>
        </p:nvGrpSpPr>
        <p:grpSpPr>
          <a:xfrm>
            <a:off x="179512" y="128414"/>
            <a:ext cx="1152128" cy="1080120"/>
            <a:chOff x="179512" y="128414"/>
            <a:chExt cx="1152128" cy="1080120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4D77CCF-9A3F-404E-9DDC-FB1CCCFF33D4}"/>
                </a:ext>
              </a:extLst>
            </p:cNvPr>
            <p:cNvSpPr txBox="1"/>
            <p:nvPr userDrawn="1"/>
          </p:nvSpPr>
          <p:spPr>
            <a:xfrm>
              <a:off x="179512" y="205358"/>
              <a:ext cx="1008112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defTabSz="914378"/>
              <a:endParaRPr lang="en-US" dirty="0">
                <a:solidFill>
                  <a:prstClr val="black"/>
                </a:solidFill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CA6143B9-5A4D-4CC2-A5AD-3BC438BBF99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" b="149"/>
            <a:stretch/>
          </p:blipFill>
          <p:spPr>
            <a:xfrm>
              <a:off x="323528" y="128414"/>
              <a:ext cx="1008112" cy="10801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78776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0" r:id="rId1"/>
    <p:sldLayoutId id="2147483971" r:id="rId2"/>
    <p:sldLayoutId id="2147483972" r:id="rId3"/>
    <p:sldLayoutId id="2147483973" r:id="rId4"/>
    <p:sldLayoutId id="2147483974" r:id="rId5"/>
    <p:sldLayoutId id="2147483975" r:id="rId6"/>
    <p:sldLayoutId id="2147483976" r:id="rId7"/>
    <p:sldLayoutId id="2147483977" r:id="rId8"/>
    <p:sldLayoutId id="2147483978" r:id="rId9"/>
    <p:sldLayoutId id="2147483979" r:id="rId10"/>
    <p:sldLayoutId id="2147483980" r:id="rId11"/>
  </p:sldLayoutIdLst>
  <p:txStyles>
    <p:titleStyle>
      <a:lvl1pPr algn="ctr" defTabSz="91435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84" indent="-342884" algn="l" defTabSz="914355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13" indent="-285736" algn="l" defTabSz="914355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4" indent="-228588" algn="l" defTabSz="91435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8" algn="l" defTabSz="914355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7" indent="-228588" algn="l" defTabSz="914355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8" algn="l" defTabSz="91435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8" algn="l" defTabSz="91435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8" algn="l" defTabSz="91435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8" algn="l" defTabSz="91435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4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7.xml"/><Relationship Id="rId5" Type="http://schemas.openxmlformats.org/officeDocument/2006/relationships/image" Target="../media/image18.jpeg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5"/>
          <p:cNvSpPr>
            <a:spLocks noGrp="1" noChangeArrowheads="1"/>
          </p:cNvSpPr>
          <p:nvPr>
            <p:ph type="title"/>
          </p:nvPr>
        </p:nvSpPr>
        <p:spPr bwMode="auto">
          <a:xfrm>
            <a:off x="1454296" y="36644"/>
            <a:ext cx="6973747" cy="424732"/>
          </a:xfrm>
          <a:prstGeom prst="rect">
            <a:avLst/>
          </a:prstGeom>
          <a:solidFill>
            <a:srgbClr val="FFC000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GB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Learning From Incident - </a:t>
            </a:r>
            <a:r>
              <a:rPr lang="en-GB" sz="2400" b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First Alert</a:t>
            </a:r>
            <a:endParaRPr lang="en-GB" sz="2100" b="1" dirty="0">
              <a:solidFill>
                <a:srgbClr val="FF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" name="Rectangle 17"/>
          <p:cNvSpPr>
            <a:spLocks noChangeArrowheads="1"/>
          </p:cNvSpPr>
          <p:nvPr/>
        </p:nvSpPr>
        <p:spPr bwMode="auto">
          <a:xfrm>
            <a:off x="220423" y="1521016"/>
            <a:ext cx="143846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685800" latinLnBrk="0">
              <a:defRPr/>
            </a:pPr>
            <a:r>
              <a:rPr lang="en-US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happened</a:t>
            </a:r>
          </a:p>
        </p:txBody>
      </p:sp>
      <p:sp>
        <p:nvSpPr>
          <p:cNvPr id="8" name="Rectangle 1"/>
          <p:cNvSpPr>
            <a:spLocks noChangeArrowheads="1"/>
          </p:cNvSpPr>
          <p:nvPr/>
        </p:nvSpPr>
        <p:spPr bwMode="auto">
          <a:xfrm>
            <a:off x="295656" y="1797930"/>
            <a:ext cx="5644496" cy="7155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pPr algn="just" defTabSz="685800" latinLnBrk="0">
              <a:defRPr/>
            </a:pPr>
            <a:r>
              <a:rPr lang="en-US" sz="1050" dirty="0"/>
              <a:t>While manually transferring scaffolding standards from the storage yard to a 3-ton canter, a rigger right-hand middle finger became trapped between the coupling of the scaffolding standard and the edge of the tailboard of the canter. This </a:t>
            </a:r>
            <a:r>
              <a:rPr lang="en-US" sz="105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resulted in a crush injury (amputation) to the tip of his right-hand middle finger. </a:t>
            </a:r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4155928"/>
              </p:ext>
            </p:extLst>
          </p:nvPr>
        </p:nvGraphicFramePr>
        <p:xfrm>
          <a:off x="1457501" y="469879"/>
          <a:ext cx="6973747" cy="7718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84114">
                  <a:extLst>
                    <a:ext uri="{9D8B030D-6E8A-4147-A177-3AD203B41FA5}">
                      <a16:colId xmlns:a16="http://schemas.microsoft.com/office/drawing/2014/main" val="4136576419"/>
                    </a:ext>
                  </a:extLst>
                </a:gridCol>
                <a:gridCol w="1021081">
                  <a:extLst>
                    <a:ext uri="{9D8B030D-6E8A-4147-A177-3AD203B41FA5}">
                      <a16:colId xmlns:a16="http://schemas.microsoft.com/office/drawing/2014/main" val="425046032"/>
                    </a:ext>
                  </a:extLst>
                </a:gridCol>
                <a:gridCol w="792088">
                  <a:extLst>
                    <a:ext uri="{9D8B030D-6E8A-4147-A177-3AD203B41FA5}">
                      <a16:colId xmlns:a16="http://schemas.microsoft.com/office/drawing/2014/main" val="4255786960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val="2009492886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val="1090560065"/>
                    </a:ext>
                  </a:extLst>
                </a:gridCol>
                <a:gridCol w="1944216">
                  <a:extLst>
                    <a:ext uri="{9D8B030D-6E8A-4147-A177-3AD203B41FA5}">
                      <a16:colId xmlns:a16="http://schemas.microsoft.com/office/drawing/2014/main" val="4048325790"/>
                    </a:ext>
                  </a:extLst>
                </a:gridCol>
              </a:tblGrid>
              <a:tr h="210207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+mj-lt"/>
                        </a:rPr>
                        <a:t>PIM #</a:t>
                      </a:r>
                    </a:p>
                  </a:txBody>
                  <a:tcPr marL="68580" marR="68580" marT="34290" marB="3429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159481</a:t>
                      </a:r>
                    </a:p>
                  </a:txBody>
                  <a:tcPr marL="68580" marR="68580" marT="34290" marB="3429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Date</a:t>
                      </a:r>
                    </a:p>
                  </a:txBody>
                  <a:tcPr marL="68580" marR="68580" marT="34290" marB="3429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3.09.2023</a:t>
                      </a:r>
                    </a:p>
                  </a:txBody>
                  <a:tcPr marL="68580" marR="68580" marT="34290" marB="3429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Direct /Depart</a:t>
                      </a:r>
                    </a:p>
                  </a:txBody>
                  <a:tcPr marL="68580" marR="68580" marT="34290" marB="3429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6748105"/>
                  </a:ext>
                </a:extLst>
              </a:tr>
              <a:tr h="216478">
                <a:tc>
                  <a:txBody>
                    <a:bodyPr/>
                    <a:lstStyle/>
                    <a:p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ncident Type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TI#</a:t>
                      </a:r>
                      <a:r>
                        <a:rPr lang="en-US" sz="10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17</a:t>
                      </a:r>
                      <a:endParaRPr lang="en-US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Time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b="0" dirty="0"/>
                        <a:t>17:37 Hrs</a:t>
                      </a:r>
                      <a:endParaRPr lang="en-US" sz="1000" b="0" dirty="0">
                        <a:latin typeface="+mj-lt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Location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effectLst/>
                        </a:rPr>
                        <a:t>ATNM Industrial Yard, Marmul</a:t>
                      </a:r>
                      <a:endParaRPr lang="en-US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836305567"/>
                  </a:ext>
                </a:extLst>
              </a:tr>
              <a:tr h="299394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Pattern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ands &amp; Fingers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tracto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000" b="0" dirty="0">
                        <a:latin typeface="+mj-lt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Activity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ading of scaffold components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519593395"/>
                  </a:ext>
                </a:extLst>
              </a:tr>
            </a:tbl>
          </a:graphicData>
        </a:graphic>
      </p:graphicFrame>
      <p:sp>
        <p:nvSpPr>
          <p:cNvPr id="18" name="Rectangle 17"/>
          <p:cNvSpPr>
            <a:spLocks noChangeArrowheads="1"/>
          </p:cNvSpPr>
          <p:nvPr/>
        </p:nvSpPr>
        <p:spPr bwMode="auto">
          <a:xfrm>
            <a:off x="1454296" y="1241713"/>
            <a:ext cx="6973746" cy="276999"/>
          </a:xfrm>
          <a:prstGeom prst="rect">
            <a:avLst/>
          </a:prstGeom>
          <a:solidFill>
            <a:srgbClr val="FFCC00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685800" latinLnBrk="0">
              <a:defRPr/>
            </a:pPr>
            <a:r>
              <a:rPr lang="en-US" sz="1200" b="1" dirty="0">
                <a:solidFill>
                  <a:srgbClr val="0D38B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rget</a:t>
            </a:r>
            <a:r>
              <a:rPr lang="en-US" sz="1200" b="1" dirty="0">
                <a:solidFill>
                  <a:srgbClr val="0D38B3"/>
                </a:solidFill>
                <a:latin typeface="Calibri Light" panose="020F0302020204030204"/>
                <a:cs typeface="Calibri" pitchFamily="34" charset="0"/>
              </a:rPr>
              <a:t> </a:t>
            </a:r>
            <a:r>
              <a:rPr lang="en-US" sz="1200" b="1" dirty="0">
                <a:solidFill>
                  <a:srgbClr val="0D38B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dience: </a:t>
            </a:r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All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947B715-5C32-4379-84C8-46A5B939CA2A}"/>
              </a:ext>
            </a:extLst>
          </p:cNvPr>
          <p:cNvSpPr txBox="1"/>
          <p:nvPr/>
        </p:nvSpPr>
        <p:spPr>
          <a:xfrm>
            <a:off x="1619672" y="4871603"/>
            <a:ext cx="4444650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00" latinLnBrk="0"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Calibri Light" panose="020F0302020204030204"/>
              </a:rPr>
              <a:t>In case of an emergency please call PDO Emergency Number (Toll Free): </a:t>
            </a:r>
            <a:r>
              <a:rPr lang="en-US" altLang="en-US" sz="105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467-5555</a:t>
            </a:r>
            <a:endParaRPr lang="en-US" sz="1050" b="1" dirty="0">
              <a:solidFill>
                <a:srgbClr val="58595B"/>
              </a:solidFill>
              <a:latin typeface="Calibri Light" panose="020F0302020204030204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0A5CFB7-AB08-402F-A488-07B19E9AD9F7}"/>
              </a:ext>
            </a:extLst>
          </p:cNvPr>
          <p:cNvSpPr txBox="1"/>
          <p:nvPr/>
        </p:nvSpPr>
        <p:spPr>
          <a:xfrm rot="16200000">
            <a:off x="-109029" y="572501"/>
            <a:ext cx="999808" cy="190437"/>
          </a:xfrm>
          <a:prstGeom prst="rect">
            <a:avLst/>
          </a:prstGeom>
          <a:noFill/>
        </p:spPr>
        <p:txBody>
          <a:bodyPr wrap="square" lIns="51435" tIns="25718" rIns="51435" bIns="25718" rtlCol="0">
            <a:noAutofit/>
          </a:bodyPr>
          <a:lstStyle/>
          <a:p>
            <a:pPr algn="ctr" defTabSz="685800" latinLnBrk="0"/>
            <a:r>
              <a:rPr lang="en-US" sz="1125" dirty="0">
                <a:solidFill>
                  <a:prstClr val="white"/>
                </a:solidFill>
                <a:latin typeface="Calibri" panose="020F0502020204030204"/>
              </a:rPr>
              <a:t>Prevent</a:t>
            </a:r>
          </a:p>
        </p:txBody>
      </p:sp>
      <p:sp>
        <p:nvSpPr>
          <p:cNvPr id="35" name="Rectangle 17">
            <a:extLst>
              <a:ext uri="{FF2B5EF4-FFF2-40B4-BE49-F238E27FC236}">
                <a16:creationId xmlns:a16="http://schemas.microsoft.com/office/drawing/2014/main" id="{52258D6B-D1CE-4063-85C9-AFC0CFF35F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0565" y="3494576"/>
            <a:ext cx="143846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685800" latinLnBrk="0">
              <a:defRPr/>
            </a:pPr>
            <a:r>
              <a:rPr lang="en-US" sz="1200" b="1" dirty="0">
                <a:solidFill>
                  <a:srgbClr val="4472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rnings</a:t>
            </a:r>
          </a:p>
        </p:txBody>
      </p:sp>
      <p:sp>
        <p:nvSpPr>
          <p:cNvPr id="36" name="Rectangle 17">
            <a:extLst>
              <a:ext uri="{FF2B5EF4-FFF2-40B4-BE49-F238E27FC236}">
                <a16:creationId xmlns:a16="http://schemas.microsoft.com/office/drawing/2014/main" id="{6EF339D8-4E46-422C-8BFC-03E46E35F8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3167" y="2507796"/>
            <a:ext cx="143846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685800" latinLnBrk="0">
              <a:defRPr/>
            </a:pPr>
            <a:r>
              <a:rPr lang="en-US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itial Findings</a:t>
            </a:r>
          </a:p>
        </p:txBody>
      </p:sp>
      <p:sp>
        <p:nvSpPr>
          <p:cNvPr id="37" name="Rectangle 1">
            <a:extLst>
              <a:ext uri="{FF2B5EF4-FFF2-40B4-BE49-F238E27FC236}">
                <a16:creationId xmlns:a16="http://schemas.microsoft.com/office/drawing/2014/main" id="{AE8273E9-CD3B-4A1D-88F1-31D29526B0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5656" y="2791450"/>
            <a:ext cx="5212448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pPr marL="171450" indent="-171450">
              <a:buFont typeface="Arial" pitchFamily="34" charset="0"/>
              <a:buChar char="•"/>
            </a:pPr>
            <a:r>
              <a:rPr lang="en-US" sz="1050" dirty="0"/>
              <a:t>The employee was wearing a poly urethane glove.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050" dirty="0"/>
              <a:t>The cargo body of the 3ton was kept closed while loading.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050" dirty="0"/>
              <a:t>The material was dumped into the vehicle instead of arranging it inside the cargo body</a:t>
            </a:r>
          </a:p>
        </p:txBody>
      </p:sp>
      <p:sp>
        <p:nvSpPr>
          <p:cNvPr id="38" name="Rectangle 1">
            <a:extLst>
              <a:ext uri="{FF2B5EF4-FFF2-40B4-BE49-F238E27FC236}">
                <a16:creationId xmlns:a16="http://schemas.microsoft.com/office/drawing/2014/main" id="{4D4D9B9C-D08B-49B5-A2A2-29777BE26A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5657" y="3796119"/>
            <a:ext cx="5500479" cy="7155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pPr marL="171450" indent="-171450" defTabSz="685800" latinLnBrk="0">
              <a:buFont typeface="Arial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How do ensure the tasks are risk assessed prior starting the work?</a:t>
            </a:r>
          </a:p>
          <a:p>
            <a:pPr marL="171450" indent="-171450" defTabSz="685800" latinLnBrk="0">
              <a:buFont typeface="Arial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How do you always ensure that all activities are planned well before starting the task? </a:t>
            </a:r>
          </a:p>
          <a:p>
            <a:pPr marL="171450" indent="-171450" defTabSz="685800" latinLnBrk="0">
              <a:buFont typeface="Arial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How do you ensure personnel are aware of the correct PPE for each task and where to obtain it from?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6D21A8C-30CC-4548-8EF8-499FFD5D7726}"/>
              </a:ext>
            </a:extLst>
          </p:cNvPr>
          <p:cNvSpPr txBox="1"/>
          <p:nvPr/>
        </p:nvSpPr>
        <p:spPr>
          <a:xfrm>
            <a:off x="361691" y="4551912"/>
            <a:ext cx="6101825" cy="30008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pPr algn="ctr" defTabSz="514350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sz="1350" b="1" dirty="0">
                <a:solidFill>
                  <a:srgbClr val="FFFF00"/>
                </a:solidFill>
                <a:latin typeface="Tahoma" pitchFamily="34" charset="0"/>
                <a:ea typeface="MS PGothic" pitchFamily="34" charset="-128"/>
              </a:rPr>
              <a:t>Always be aware of hazards when loading/unloading from vehicles   </a:t>
            </a:r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9B097645-209D-4B2F-B121-5A6FFC203DA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242" y="249275"/>
            <a:ext cx="1298603" cy="1013748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6176" y="1529563"/>
            <a:ext cx="2876397" cy="14323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Group 131">
            <a:extLst>
              <a:ext uri="{FF2B5EF4-FFF2-40B4-BE49-F238E27FC236}">
                <a16:creationId xmlns:a16="http://schemas.microsoft.com/office/drawing/2014/main" id="{87F23EE3-49D2-94F5-3A57-CB3BB519B0D1}"/>
              </a:ext>
            </a:extLst>
          </p:cNvPr>
          <p:cNvGrpSpPr>
            <a:grpSpLocks/>
          </p:cNvGrpSpPr>
          <p:nvPr/>
        </p:nvGrpSpPr>
        <p:grpSpPr bwMode="auto">
          <a:xfrm>
            <a:off x="8666311" y="2442102"/>
            <a:ext cx="252413" cy="408385"/>
            <a:chOff x="3504" y="544"/>
            <a:chExt cx="2287" cy="185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6" name="Line 129">
              <a:extLst>
                <a:ext uri="{FF2B5EF4-FFF2-40B4-BE49-F238E27FC236}">
                  <a16:creationId xmlns:a16="http://schemas.microsoft.com/office/drawing/2014/main" id="{D83C05B3-681A-3362-8E64-7302BA5D72E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04" y="568"/>
              <a:ext cx="2287" cy="1831"/>
            </a:xfrm>
            <a:prstGeom prst="line">
              <a:avLst/>
            </a:prstGeom>
            <a:noFill/>
            <a:ln w="13335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pPr defTabSz="685800" eaLnBrk="0" fontAlgn="base" latinLnBrk="0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</a:endParaRPr>
            </a:p>
          </p:txBody>
        </p:sp>
        <p:sp>
          <p:nvSpPr>
            <p:cNvPr id="9" name="Line 130">
              <a:extLst>
                <a:ext uri="{FF2B5EF4-FFF2-40B4-BE49-F238E27FC236}">
                  <a16:creationId xmlns:a16="http://schemas.microsoft.com/office/drawing/2014/main" id="{565108DD-44C2-61CC-6F05-DF95490A268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528" y="544"/>
              <a:ext cx="2144" cy="1807"/>
            </a:xfrm>
            <a:prstGeom prst="line">
              <a:avLst/>
            </a:prstGeom>
            <a:noFill/>
            <a:ln w="13335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pPr defTabSz="685800" eaLnBrk="0" fontAlgn="base" latinLnBrk="0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</a:endParaRPr>
            </a:p>
          </p:txBody>
        </p:sp>
      </p:grpSp>
      <p:pic>
        <p:nvPicPr>
          <p:cNvPr id="12" name="Picture 11" descr="A person in a blue jumpsuit holding a stick next to a truck">
            <a:extLst>
              <a:ext uri="{FF2B5EF4-FFF2-40B4-BE49-F238E27FC236}">
                <a16:creationId xmlns:a16="http://schemas.microsoft.com/office/drawing/2014/main" id="{1E3CA453-1806-384C-CBDE-82C56D41B3C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2039" y="3002090"/>
            <a:ext cx="2904670" cy="1432315"/>
          </a:xfrm>
          <a:prstGeom prst="rect">
            <a:avLst/>
          </a:prstGeom>
        </p:spPr>
      </p:pic>
      <p:sp>
        <p:nvSpPr>
          <p:cNvPr id="10" name="Freeform 132">
            <a:extLst>
              <a:ext uri="{FF2B5EF4-FFF2-40B4-BE49-F238E27FC236}">
                <a16:creationId xmlns:a16="http://schemas.microsoft.com/office/drawing/2014/main" id="{5FE761CF-9684-AFA6-6D2A-9854C105AF6E}"/>
              </a:ext>
            </a:extLst>
          </p:cNvPr>
          <p:cNvSpPr>
            <a:spLocks/>
          </p:cNvSpPr>
          <p:nvPr/>
        </p:nvSpPr>
        <p:spPr bwMode="auto">
          <a:xfrm>
            <a:off x="8621068" y="3991746"/>
            <a:ext cx="342900" cy="342900"/>
          </a:xfrm>
          <a:custGeom>
            <a:avLst/>
            <a:gdLst>
              <a:gd name="T0" fmla="*/ 0 w 1336"/>
              <a:gd name="T1" fmla="*/ 2147483647 h 888"/>
              <a:gd name="T2" fmla="*/ 2147483647 w 1336"/>
              <a:gd name="T3" fmla="*/ 2147483647 h 888"/>
              <a:gd name="T4" fmla="*/ 2147483647 w 1336"/>
              <a:gd name="T5" fmla="*/ 0 h 888"/>
              <a:gd name="T6" fmla="*/ 0 60000 65536"/>
              <a:gd name="T7" fmla="*/ 0 60000 65536"/>
              <a:gd name="T8" fmla="*/ 0 60000 65536"/>
              <a:gd name="T9" fmla="*/ 0 w 1336"/>
              <a:gd name="T10" fmla="*/ 0 h 888"/>
              <a:gd name="T11" fmla="*/ 1336 w 1336"/>
              <a:gd name="T12" fmla="*/ 888 h 88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336" h="888">
                <a:moveTo>
                  <a:pt x="0" y="600"/>
                </a:moveTo>
                <a:lnTo>
                  <a:pt x="312" y="888"/>
                </a:lnTo>
                <a:lnTo>
                  <a:pt x="1336" y="0"/>
                </a:lnTo>
              </a:path>
            </a:pathLst>
          </a:custGeom>
          <a:noFill/>
          <a:ln w="133350">
            <a:solidFill>
              <a:srgbClr val="00FF00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defTabSz="685800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84697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3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3liB7PSxSJYR4oN650s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heme/theme1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7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Petroleum Development_CF_OMD011">
  <a:themeElements>
    <a:clrScheme name="CURRENT">
      <a:dk1>
        <a:srgbClr val="000000"/>
      </a:dk1>
      <a:lt1>
        <a:srgbClr val="FFFFFF"/>
      </a:lt1>
      <a:dk2>
        <a:srgbClr val="00A651"/>
      </a:dk2>
      <a:lt2>
        <a:srgbClr val="FFC000"/>
      </a:lt2>
      <a:accent1>
        <a:srgbClr val="BDDCA8"/>
      </a:accent1>
      <a:accent2>
        <a:srgbClr val="78B74D"/>
      </a:accent2>
      <a:accent3>
        <a:srgbClr val="00A651"/>
      </a:accent3>
      <a:accent4>
        <a:srgbClr val="006430"/>
      </a:accent4>
      <a:accent5>
        <a:srgbClr val="ED1C24"/>
      </a:accent5>
      <a:accent6>
        <a:srgbClr val="808080"/>
      </a:accent6>
      <a:hlink>
        <a:srgbClr val="00A651"/>
      </a:hlink>
      <a:folHlink>
        <a:srgbClr val="006430"/>
      </a:folHlink>
    </a:clrScheme>
    <a:fontScheme name="CURR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A651"/>
        </a:dk2>
        <a:lt2>
          <a:srgbClr val="FFC000"/>
        </a:lt2>
        <a:accent1>
          <a:srgbClr val="BDDCA8"/>
        </a:accent1>
        <a:accent2>
          <a:srgbClr val="78B74D"/>
        </a:accent2>
        <a:accent3>
          <a:srgbClr val="00A651"/>
        </a:accent3>
        <a:accent4>
          <a:srgbClr val="006430"/>
        </a:accent4>
        <a:accent5>
          <a:srgbClr val="ED1C24"/>
        </a:accent5>
        <a:accent6>
          <a:srgbClr val="808080"/>
        </a:accent6>
        <a:hlink>
          <a:srgbClr val="00A651"/>
        </a:hlink>
        <a:folHlink>
          <a:srgbClr val="0064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etroleum Development_CF_OMD011.potx" id="{FFACBC12-251F-4C16-ADA6-33CA23F4A804}" vid="{E68BC41C-0556-4872-B667-DA943A5E9BD1}"/>
    </a:ext>
  </a:extLst>
</a:theme>
</file>

<file path=ppt/theme/theme7.xml><?xml version="1.0" encoding="utf-8"?>
<a:theme xmlns:a="http://schemas.openxmlformats.org/drawingml/2006/main" name="74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5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75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Image" ma:contentTypeID="0x0101009148F5A04DDD49CBA7127AADA5FB792B00AADE34325A8B49CDA8BB4DB53328F214009C4067D375EDA046866D1CFD34BA6725" ma:contentTypeVersion="4" ma:contentTypeDescription="Upload an image." ma:contentTypeScope="" ma:versionID="5568808217e8896a20d35b78a187a54b">
  <xsd:schema xmlns:xsd="http://www.w3.org/2001/XMLSchema" xmlns:xs="http://www.w3.org/2001/XMLSchema" xmlns:p="http://schemas.microsoft.com/office/2006/metadata/properties" xmlns:ns1="http://schemas.microsoft.com/sharepoint/v3" xmlns:ns2="4880E4F8-4B7D-4BDD-91E3-E10D47036ECA" xmlns:ns3="http://schemas.microsoft.com/sharepoint/v3/fields" xmlns:ns4="4880e4f8-4b7d-4bdd-91e3-e10d47036eca" xmlns:ns5="9d51eac6-a7d5-47f5-a119-63d146adb134" targetNamespace="http://schemas.microsoft.com/office/2006/metadata/properties" ma:root="true" ma:fieldsID="95b9b289a8e8f4d106e4c69b136198e4" ns1:_="" ns2:_="" ns3:_="" ns4:_="" ns5:_="">
    <xsd:import namespace="http://schemas.microsoft.com/sharepoint/v3"/>
    <xsd:import namespace="4880E4F8-4B7D-4BDD-91E3-E10D47036ECA"/>
    <xsd:import namespace="http://schemas.microsoft.com/sharepoint/v3/fields"/>
    <xsd:import namespace="4880e4f8-4b7d-4bdd-91e3-e10d47036eca"/>
    <xsd:import namespace="9d51eac6-a7d5-47f5-a119-63d146adb134"/>
    <xsd:element name="properties">
      <xsd:complexType>
        <xsd:sequence>
          <xsd:element name="documentManagement">
            <xsd:complexType>
              <xsd:all>
                <xsd:element ref="ns1:FileRef" minOccurs="0"/>
                <xsd:element ref="ns1:File_x0020_Type" minOccurs="0"/>
                <xsd:element ref="ns1:HTML_x0020_File_x0020_Type" minOccurs="0"/>
                <xsd:element ref="ns1:FSObjType" minOccurs="0"/>
                <xsd:element ref="ns2:ThumbnailExists" minOccurs="0"/>
                <xsd:element ref="ns2:PreviewExists" minOccurs="0"/>
                <xsd:element ref="ns2:ImageWidth" minOccurs="0"/>
                <xsd:element ref="ns2:ImageHeight" minOccurs="0"/>
                <xsd:element ref="ns2:ImageCreateDate" minOccurs="0"/>
                <xsd:element ref="ns3:wic_System_Copyright" minOccurs="0"/>
                <xsd:element ref="ns4:Language" minOccurs="0"/>
                <xsd:element ref="ns4:DocId" minOccurs="0"/>
                <xsd:element ref="ns5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FileRef" ma:index="8" nillable="true" ma:displayName="URL Path" ma:hidden="true" ma:list="Docs" ma:internalName="FileRef" ma:readOnly="true" ma:showField="FullUrl">
      <xsd:simpleType>
        <xsd:restriction base="dms:Lookup"/>
      </xsd:simpleType>
    </xsd:element>
    <xsd:element name="File_x0020_Type" ma:index="9" nillable="true" ma:displayName="File Type" ma:hidden="true" ma:internalName="File_x0020_Type" ma:readOnly="true">
      <xsd:simpleType>
        <xsd:restriction base="dms:Text"/>
      </xsd:simpleType>
    </xsd:element>
    <xsd:element name="HTML_x0020_File_x0020_Type" ma:index="10" nillable="true" ma:displayName="HTML File Type" ma:hidden="true" ma:internalName="HTML_x0020_File_x0020_Type" ma:readOnly="true">
      <xsd:simpleType>
        <xsd:restriction base="dms:Text"/>
      </xsd:simpleType>
    </xsd:element>
    <xsd:element name="FSObjType" ma:index="11" nillable="true" ma:displayName="Item Type" ma:hidden="true" ma:list="Docs" ma:internalName="FSObjType" ma:readOnly="true" ma:showField="FSType">
      <xsd:simpleType>
        <xsd:restriction base="dms:Lookup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80E4F8-4B7D-4BDD-91E3-E10D47036ECA" elementFormDefault="qualified">
    <xsd:import namespace="http://schemas.microsoft.com/office/2006/documentManagement/types"/>
    <xsd:import namespace="http://schemas.microsoft.com/office/infopath/2007/PartnerControls"/>
    <xsd:element name="ThumbnailExists" ma:index="18" nillable="true" ma:displayName="Thumbnail Exists" ma:default="FALSE" ma:hidden="true" ma:internalName="ThumbnailExists" ma:readOnly="true">
      <xsd:simpleType>
        <xsd:restriction base="dms:Boolean"/>
      </xsd:simpleType>
    </xsd:element>
    <xsd:element name="PreviewExists" ma:index="19" nillable="true" ma:displayName="Preview Exists" ma:default="FALSE" ma:hidden="true" ma:internalName="PreviewExists" ma:readOnly="true">
      <xsd:simpleType>
        <xsd:restriction base="dms:Boolean"/>
      </xsd:simpleType>
    </xsd:element>
    <xsd:element name="ImageWidth" ma:index="20" nillable="true" ma:displayName="Width" ma:internalName="ImageWidth" ma:readOnly="true">
      <xsd:simpleType>
        <xsd:restriction base="dms:Unknown"/>
      </xsd:simpleType>
    </xsd:element>
    <xsd:element name="ImageHeight" ma:index="22" nillable="true" ma:displayName="Height" ma:internalName="ImageHeight" ma:readOnly="true">
      <xsd:simpleType>
        <xsd:restriction base="dms:Unknown"/>
      </xsd:simpleType>
    </xsd:element>
    <xsd:element name="ImageCreateDate" ma:index="25" nillable="true" ma:displayName="Date Picture Taken" ma:format="DateTime" ma:hidden="true" ma:internalName="ImageCreateDat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wic_System_Copyright" ma:index="26" nillable="true" ma:displayName="Copyright" ma:internalName="wic_System_Copyright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80e4f8-4b7d-4bdd-91e3-e10d47036eca" elementFormDefault="qualified">
    <xsd:import namespace="http://schemas.microsoft.com/office/2006/documentManagement/types"/>
    <xsd:import namespace="http://schemas.microsoft.com/office/infopath/2007/PartnerControls"/>
    <xsd:element name="Language" ma:index="27" nillable="true" ma:displayName="Language" ma:default="English 1" ma:format="Dropdown" ma:internalName="Language">
      <xsd:simpleType>
        <xsd:restriction base="dms:Choice">
          <xsd:enumeration value="English"/>
          <xsd:enumeration value="Arabic"/>
          <xsd:enumeration value="Hindi"/>
          <xsd:enumeration value="English 1"/>
          <xsd:enumeration value="English 2"/>
          <xsd:enumeration value="Arabic 1"/>
          <xsd:enumeration value="Arabic 2"/>
          <xsd:enumeration value="Hindi 1"/>
          <xsd:enumeration value="Hindi 2"/>
          <xsd:enumeration value="Malayalam 1"/>
          <xsd:enumeration value="Malayalam 2"/>
        </xsd:restriction>
      </xsd:simpleType>
    </xsd:element>
    <xsd:element name="DocId" ma:index="28" nillable="true" ma:displayName="DocId" ma:list="{9de017a3-70b4-41a0-b3a1-4f7a098545da}" ma:internalName="DocId" ma:showField="ID" ma:web="9d51eac6-a7d5-47f5-a119-63d146adb134">
      <xsd:simpleType>
        <xsd:restriction base="dms:Lookup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51eac6-a7d5-47f5-a119-63d146adb134" elementFormDefault="qualified">
    <xsd:import namespace="http://schemas.microsoft.com/office/2006/documentManagement/types"/>
    <xsd:import namespace="http://schemas.microsoft.com/office/infopath/2007/PartnerControls"/>
    <xsd:element name="SharedWithUsers" ma:index="2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24" ma:displayName="Author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 ma:index="23" ma:displayName="Comments"/>
        <xsd:element name="keywords" minOccurs="0" maxOccurs="1" type="xsd:string" ma:index="14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anguage xmlns="4880e4f8-4b7d-4bdd-91e3-e10d47036eca">English</Language>
    <DocId xmlns="4880e4f8-4b7d-4bdd-91e3-e10d47036eca">92784</DocId>
    <ImageCreateDate xmlns="4880E4F8-4B7D-4BDD-91E3-E10D47036ECA" xsi:nil="true"/>
    <wic_System_Copyright xmlns="http://schemas.microsoft.com/sharepoint/v3/fields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D436ED7-C9EB-415D-9759-62233D8A1244}"/>
</file>

<file path=customXml/itemProps2.xml><?xml version="1.0" encoding="utf-8"?>
<ds:datastoreItem xmlns:ds="http://schemas.openxmlformats.org/officeDocument/2006/customXml" ds:itemID="{8588D233-F865-4FE2-ABAD-A13A7A88635F}">
  <ds:schemaRefs>
    <ds:schemaRef ds:uri="http://schemas.microsoft.com/office/2006/metadata/properties"/>
    <ds:schemaRef ds:uri="http://schemas.microsoft.com/office/infopath/2007/PartnerControls"/>
    <ds:schemaRef ds:uri="4880e4f8-4b7d-4bdd-91e3-e10d47036eca"/>
    <ds:schemaRef ds:uri="4880E4F8-4B7D-4BDD-91E3-E10D47036ECA"/>
    <ds:schemaRef ds:uri="http://schemas.microsoft.com/sharepoint/v3/fields"/>
  </ds:schemaRefs>
</ds:datastoreItem>
</file>

<file path=customXml/itemProps3.xml><?xml version="1.0" encoding="utf-8"?>
<ds:datastoreItem xmlns:ds="http://schemas.openxmlformats.org/officeDocument/2006/customXml" ds:itemID="{CB008124-7566-402F-877A-820D450D2DB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1743</TotalTime>
  <Words>388</Words>
  <Application>Microsoft Office PowerPoint</Application>
  <PresentationFormat>On-screen Show (16:9)</PresentationFormat>
  <Paragraphs>39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11</vt:i4>
      </vt:variant>
      <vt:variant>
        <vt:lpstr>Slide Titles</vt:lpstr>
      </vt:variant>
      <vt:variant>
        <vt:i4>1</vt:i4>
      </vt:variant>
    </vt:vector>
  </HeadingPairs>
  <TitlesOfParts>
    <vt:vector size="22" baseType="lpstr">
      <vt:lpstr>Arial</vt:lpstr>
      <vt:lpstr>Calibri</vt:lpstr>
      <vt:lpstr>Calibri Light</vt:lpstr>
      <vt:lpstr>Century Gothic</vt:lpstr>
      <vt:lpstr>Gill Sans</vt:lpstr>
      <vt:lpstr>Gill Sans Light</vt:lpstr>
      <vt:lpstr>Tahoma</vt:lpstr>
      <vt:lpstr>Times New Roman</vt:lpstr>
      <vt:lpstr>Trebuchet MS</vt:lpstr>
      <vt:lpstr>Wingdings</vt:lpstr>
      <vt:lpstr>1_Custom Design</vt:lpstr>
      <vt:lpstr>Custom Design</vt:lpstr>
      <vt:lpstr>2_Custom Design</vt:lpstr>
      <vt:lpstr>3_Custom Design</vt:lpstr>
      <vt:lpstr>11_Custom Design</vt:lpstr>
      <vt:lpstr>Petroleum Development_CF_OMD011</vt:lpstr>
      <vt:lpstr>74_Custom Design</vt:lpstr>
      <vt:lpstr>5_Custom Design</vt:lpstr>
      <vt:lpstr>75_Custom Design</vt:lpstr>
      <vt:lpstr>7_Custom Design</vt:lpstr>
      <vt:lpstr>3_Office Theme</vt:lpstr>
      <vt:lpstr>Learning From Incident - First Alert</vt:lpstr>
    </vt:vector>
  </TitlesOfParts>
  <Company>Microsoft Corpor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TI#17-Al-Tasnim- Amputation finger </dc:title>
  <dc:creator>Registered User</dc:creator>
  <cp:lastModifiedBy>Konduru, Raju IDI63X</cp:lastModifiedBy>
  <cp:revision>1879</cp:revision>
  <cp:lastPrinted>2020-06-03T05:38:40Z</cp:lastPrinted>
  <dcterms:created xsi:type="dcterms:W3CDTF">2014-04-01T16:27:38Z</dcterms:created>
  <dcterms:modified xsi:type="dcterms:W3CDTF">2024-03-27T05:04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5526917</vt:lpwstr>
  </property>
  <property fmtid="{D5CDD505-2E9C-101B-9397-08002B2CF9AE}" pid="3" name="NXPowerLiteSettings">
    <vt:lpwstr>F7000400038000</vt:lpwstr>
  </property>
  <property fmtid="{D5CDD505-2E9C-101B-9397-08002B2CF9AE}" pid="4" name="NXPowerLiteVersion">
    <vt:lpwstr>S10.0.0</vt:lpwstr>
  </property>
  <property fmtid="{D5CDD505-2E9C-101B-9397-08002B2CF9AE}" pid="5" name="ContentTypeId">
    <vt:lpwstr>0x0101009148F5A04DDD49CBA7127AADA5FB792B00AADE34325A8B49CDA8BB4DB53328F214009C4067D375EDA046866D1CFD34BA6725</vt:lpwstr>
  </property>
</Properties>
</file>